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5.xml" ContentType="application/vnd.openxmlformats-officedocument.theme+xml"/>
  <Override PartName="/ppt/tags/tag204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tags/tag205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661" r:id="rId1"/>
    <p:sldMasterId id="2147483662" r:id="rId2"/>
    <p:sldMasterId id="2147483693" r:id="rId3"/>
    <p:sldMasterId id="2147483870" r:id="rId4"/>
    <p:sldMasterId id="2147483903" r:id="rId5"/>
    <p:sldMasterId id="2147483927" r:id="rId6"/>
    <p:sldMasterId id="2147483951" r:id="rId7"/>
  </p:sldMasterIdLst>
  <p:notesMasterIdLst>
    <p:notesMasterId r:id="rId32"/>
  </p:notesMasterIdLst>
  <p:handoutMasterIdLst>
    <p:handoutMasterId r:id="rId33"/>
  </p:handoutMasterIdLst>
  <p:sldIdLst>
    <p:sldId id="2147480881" r:id="rId8"/>
    <p:sldId id="2147481065" r:id="rId9"/>
    <p:sldId id="2147481062" r:id="rId10"/>
    <p:sldId id="2147481063" r:id="rId11"/>
    <p:sldId id="2147481064" r:id="rId12"/>
    <p:sldId id="2147472039" r:id="rId13"/>
    <p:sldId id="2147472048" r:id="rId14"/>
    <p:sldId id="2147481072" r:id="rId15"/>
    <p:sldId id="2147481073" r:id="rId16"/>
    <p:sldId id="2147481074" r:id="rId17"/>
    <p:sldId id="2147481076" r:id="rId18"/>
    <p:sldId id="2147481078" r:id="rId19"/>
    <p:sldId id="2147481079" r:id="rId20"/>
    <p:sldId id="2147481092" r:id="rId21"/>
    <p:sldId id="2147481068" r:id="rId22"/>
    <p:sldId id="2147481082" r:id="rId23"/>
    <p:sldId id="2147481083" r:id="rId24"/>
    <p:sldId id="2147481093" r:id="rId25"/>
    <p:sldId id="2147481089" r:id="rId26"/>
    <p:sldId id="2147481086" r:id="rId27"/>
    <p:sldId id="2147481087" r:id="rId28"/>
    <p:sldId id="2147481081" r:id="rId29"/>
    <p:sldId id="2147481094" r:id="rId30"/>
    <p:sldId id="2147481091" r:id="rId31"/>
  </p:sldIdLst>
  <p:sldSz cx="9144000" cy="5143500" type="screen16x9"/>
  <p:notesSz cx="6858000" cy="9144000"/>
  <p:embeddedFontLst>
    <p:embeddedFont>
      <p:font typeface="맑은 고딕" panose="020B0503020000020004" pitchFamily="34" charset="-127"/>
      <p:regular r:id="rId34"/>
      <p:bold r:id="rId35"/>
    </p:embeddedFont>
    <p:embeddedFont>
      <p:font typeface="Anton" pitchFamily="2" charset="0"/>
      <p:regular r:id="rId36"/>
    </p:embeddedFont>
    <p:embeddedFont>
      <p:font typeface="Georgia" panose="02040502050405020303" pitchFamily="18" charset="0"/>
      <p:regular r:id="rId37"/>
      <p:bold r:id="rId38"/>
      <p:italic r:id="rId39"/>
      <p:boldItalic r:id="rId40"/>
    </p:embeddedFont>
    <p:embeddedFont>
      <p:font typeface="Gill Sans" panose="020B0604020202020204" charset="0"/>
      <p:regular r:id="rId41"/>
      <p:bold r:id="rId42"/>
    </p:embeddedFont>
    <p:embeddedFont>
      <p:font typeface="Gotham Medium" pitchFamily="50" charset="0"/>
      <p:regular r:id="rId43"/>
      <p:bold r:id="rId44"/>
      <p:italic r:id="rId45"/>
      <p:boldItalic r:id="rId46"/>
    </p:embeddedFont>
    <p:embeddedFont>
      <p:font typeface="GOTHAM-BOOK" pitchFamily="50" charset="0"/>
      <p:regular r:id="rId47"/>
      <p:bold r:id="rId48"/>
      <p:italic r:id="rId49"/>
      <p:boldItalic r:id="rId50"/>
    </p:embeddedFont>
    <p:embeddedFont>
      <p:font typeface="Gotham-MediumItalic" pitchFamily="50" charset="0"/>
      <p:regular r:id="rId51"/>
      <p:bold r:id="rId52"/>
      <p:italic r:id="rId53"/>
      <p:boldItalic r:id="rId54"/>
    </p:embeddedFont>
    <p:embeddedFont>
      <p:font typeface="Helvetica" panose="020B0604020202020204" pitchFamily="34" charset="0"/>
      <p:regular r:id="rId55"/>
      <p:bold r:id="rId56"/>
      <p:italic r:id="rId57"/>
      <p:boldItalic r:id="rId58"/>
    </p:embeddedFont>
    <p:embeddedFont>
      <p:font typeface="HelveticaNeueLT Std" panose="020B0604020202020204" pitchFamily="34" charset="0"/>
      <p:regular r:id="rId59"/>
      <p:bold r:id="rId60"/>
      <p:italic r:id="rId61"/>
      <p:boldItalic r:id="rId62"/>
    </p:embeddedFont>
    <p:embeddedFont>
      <p:font typeface="HelveticaNeueLT Std Lt" panose="020B0403020202020204" pitchFamily="34" charset="0"/>
      <p:regular r:id="rId63"/>
    </p:embeddedFont>
    <p:embeddedFont>
      <p:font typeface="HelveticaNeueLT Std Thin" panose="020B0403020202020204" pitchFamily="34" charset="0"/>
      <p:regular r:id="rId64"/>
    </p:embeddedFont>
    <p:embeddedFont>
      <p:font typeface="Montserrat" panose="00000500000000000000" pitchFamily="2" charset="0"/>
      <p:regular r:id="rId65"/>
      <p:bold r:id="rId66"/>
      <p:italic r:id="rId67"/>
      <p:boldItalic r:id="rId68"/>
    </p:embeddedFont>
    <p:embeddedFont>
      <p:font typeface="Poppins" panose="00000500000000000000" pitchFamily="2" charset="0"/>
      <p:regular r:id="rId69"/>
      <p:bold r:id="rId70"/>
      <p:italic r:id="rId71"/>
      <p:boldItalic r:id="rId72"/>
    </p:embeddedFont>
    <p:embeddedFont>
      <p:font typeface="Tiempos Fine Light" panose="02020303060303060403" pitchFamily="18" charset="0"/>
      <p:regular r:id="rId73"/>
      <p:bold r:id="rId74"/>
      <p:italic r:id="rId75"/>
      <p:boldItalic r:id="rId76"/>
    </p:embeddedFont>
    <p:embeddedFont>
      <p:font typeface="Wingdings 2" panose="05020102010507070707" pitchFamily="18" charset="2"/>
      <p:regular r:id="rId7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6B0E"/>
    <a:srgbClr val="C28009"/>
    <a:srgbClr val="EB0001"/>
    <a:srgbClr val="26468E"/>
    <a:srgbClr val="007AA7"/>
    <a:srgbClr val="F65F60"/>
    <a:srgbClr val="FFD522"/>
    <a:srgbClr val="0070C0"/>
    <a:srgbClr val="0432FF"/>
    <a:srgbClr val="EE27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788A828-7A5F-42DE-AED1-21EF66E0FF09}">
  <a:tblStyle styleId="{B788A828-7A5F-42DE-AED1-21EF66E0FF09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06A04D5-5981-4D73-A93E-DA663F485D44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1348"/>
    <p:restoredTop sz="95336" autoAdjust="0"/>
  </p:normalViewPr>
  <p:slideViewPr>
    <p:cSldViewPr snapToGrid="0">
      <p:cViewPr varScale="1">
        <p:scale>
          <a:sx n="143" d="100"/>
          <a:sy n="143" d="100"/>
        </p:scale>
        <p:origin x="216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44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font" Target="fonts/font9.fntdata"/><Relationship Id="rId47" Type="http://schemas.openxmlformats.org/officeDocument/2006/relationships/font" Target="fonts/font14.fntdata"/><Relationship Id="rId63" Type="http://schemas.openxmlformats.org/officeDocument/2006/relationships/font" Target="fonts/font30.fntdata"/><Relationship Id="rId68" Type="http://schemas.openxmlformats.org/officeDocument/2006/relationships/font" Target="fonts/font35.fntdata"/><Relationship Id="rId16" Type="http://schemas.openxmlformats.org/officeDocument/2006/relationships/slide" Target="slides/slide9.xml"/><Relationship Id="rId11" Type="http://schemas.openxmlformats.org/officeDocument/2006/relationships/slide" Target="slides/slide4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53" Type="http://schemas.openxmlformats.org/officeDocument/2006/relationships/font" Target="fonts/font20.fntdata"/><Relationship Id="rId58" Type="http://schemas.openxmlformats.org/officeDocument/2006/relationships/font" Target="fonts/font25.fntdata"/><Relationship Id="rId74" Type="http://schemas.openxmlformats.org/officeDocument/2006/relationships/font" Target="fonts/font41.fntdata"/><Relationship Id="rId79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font" Target="fonts/font28.fntdata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font" Target="fonts/font15.fntdata"/><Relationship Id="rId56" Type="http://schemas.openxmlformats.org/officeDocument/2006/relationships/font" Target="fonts/font23.fntdata"/><Relationship Id="rId64" Type="http://schemas.openxmlformats.org/officeDocument/2006/relationships/font" Target="fonts/font31.fntdata"/><Relationship Id="rId69" Type="http://schemas.openxmlformats.org/officeDocument/2006/relationships/font" Target="fonts/font36.fntdata"/><Relationship Id="rId77" Type="http://schemas.openxmlformats.org/officeDocument/2006/relationships/font" Target="fonts/font44.fntdata"/><Relationship Id="rId8" Type="http://schemas.openxmlformats.org/officeDocument/2006/relationships/slide" Target="slides/slide1.xml"/><Relationship Id="rId51" Type="http://schemas.openxmlformats.org/officeDocument/2006/relationships/font" Target="fonts/font18.fntdata"/><Relationship Id="rId72" Type="http://schemas.openxmlformats.org/officeDocument/2006/relationships/font" Target="fonts/font39.fntdata"/><Relationship Id="rId80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46" Type="http://schemas.openxmlformats.org/officeDocument/2006/relationships/font" Target="fonts/font13.fntdata"/><Relationship Id="rId59" Type="http://schemas.openxmlformats.org/officeDocument/2006/relationships/font" Target="fonts/font26.fntdata"/><Relationship Id="rId67" Type="http://schemas.openxmlformats.org/officeDocument/2006/relationships/font" Target="fonts/font34.fntdata"/><Relationship Id="rId20" Type="http://schemas.openxmlformats.org/officeDocument/2006/relationships/slide" Target="slides/slide13.xml"/><Relationship Id="rId41" Type="http://schemas.openxmlformats.org/officeDocument/2006/relationships/font" Target="fonts/font8.fntdata"/><Relationship Id="rId54" Type="http://schemas.openxmlformats.org/officeDocument/2006/relationships/font" Target="fonts/font21.fntdata"/><Relationship Id="rId62" Type="http://schemas.openxmlformats.org/officeDocument/2006/relationships/font" Target="fonts/font29.fntdata"/><Relationship Id="rId70" Type="http://schemas.openxmlformats.org/officeDocument/2006/relationships/font" Target="fonts/font37.fntdata"/><Relationship Id="rId75" Type="http://schemas.openxmlformats.org/officeDocument/2006/relationships/font" Target="fonts/font42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font" Target="fonts/font3.fntdata"/><Relationship Id="rId49" Type="http://schemas.openxmlformats.org/officeDocument/2006/relationships/font" Target="fonts/font16.fntdata"/><Relationship Id="rId57" Type="http://schemas.openxmlformats.org/officeDocument/2006/relationships/font" Target="fonts/font24.fntdata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font" Target="fonts/font11.fntdata"/><Relationship Id="rId52" Type="http://schemas.openxmlformats.org/officeDocument/2006/relationships/font" Target="fonts/font19.fntdata"/><Relationship Id="rId60" Type="http://schemas.openxmlformats.org/officeDocument/2006/relationships/font" Target="fonts/font27.fntdata"/><Relationship Id="rId65" Type="http://schemas.openxmlformats.org/officeDocument/2006/relationships/font" Target="fonts/font32.fntdata"/><Relationship Id="rId73" Type="http://schemas.openxmlformats.org/officeDocument/2006/relationships/font" Target="fonts/font40.fntdata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font" Target="fonts/font6.fntdata"/><Relationship Id="rId34" Type="http://schemas.openxmlformats.org/officeDocument/2006/relationships/font" Target="fonts/font1.fntdata"/><Relationship Id="rId50" Type="http://schemas.openxmlformats.org/officeDocument/2006/relationships/font" Target="fonts/font17.fntdata"/><Relationship Id="rId55" Type="http://schemas.openxmlformats.org/officeDocument/2006/relationships/font" Target="fonts/font22.fntdata"/><Relationship Id="rId76" Type="http://schemas.openxmlformats.org/officeDocument/2006/relationships/font" Target="fonts/font43.fntdata"/><Relationship Id="rId7" Type="http://schemas.openxmlformats.org/officeDocument/2006/relationships/slideMaster" Target="slideMasters/slideMaster7.xml"/><Relationship Id="rId71" Type="http://schemas.openxmlformats.org/officeDocument/2006/relationships/font" Target="fonts/font38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font" Target="fonts/font7.fntdata"/><Relationship Id="rId45" Type="http://schemas.openxmlformats.org/officeDocument/2006/relationships/font" Target="fonts/font12.fntdata"/><Relationship Id="rId66" Type="http://schemas.openxmlformats.org/officeDocument/2006/relationships/font" Target="fonts/font33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976FC19-80EE-BF6C-F0CF-862AA3E2577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FF348C-844A-E1E4-9B91-05ED31330D2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E6E88F-B9B9-5646-9BAA-3BB2D3B31C96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3B65ED-04B3-6BA9-F311-5D17DA5041F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674CC5-8E9F-E40B-C051-EFA1FEFF222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5B6998-D67C-4D46-8D90-E952713DD4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3428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5331016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920D4698-FAD6-7447-2849-2F0429C195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C4AC969F-6656-1CE5-5EC8-25C0D9DE03B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29B46241-C71D-C758-0490-9FBC538F98D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86629FB7-24DF-19BE-7DCB-3F4C05CB1F2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19002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7FDC2773-D90B-2166-9BDF-3834122DAA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BDD34F6F-6BD1-DE9E-7C64-87F2FF7B532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080B69FD-F1BF-F12C-F721-9DF129F777F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DC6E96FA-8492-912A-6467-3F14676AE12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4891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7C04AF44-1E76-3521-C4B5-B8B01211DC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84E61C6B-6EBE-2F8F-A27B-9C200C4CC9D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04F23C0F-5B07-0C8F-88ED-D806C7113FE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F506D515-C383-7CD3-74CE-F7880C5B178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86293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872835A9-7438-B9EF-86B7-F28521EB3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1D451BF8-B811-7521-48DC-D449BC157CF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68BE95C7-2A08-471E-3554-328E4CBD60B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4B0EBAEC-A06E-B03D-8729-692781CE4C3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88412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95B1DCC9-ECF9-5AA2-3083-6D3EA91FFB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88A91C33-45E7-9885-F59C-73EC8CB89F9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A2E2FBD6-755D-9A8E-EC60-A34EA1D7B22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80867031-79C1-CC47-6549-6E71E639C5C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27651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3E61569B-39D6-D97D-FA0B-12030B6F4F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F16FF9D2-7DE2-CDDC-91B4-517181AF4CE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CD6ABF84-D5EF-C651-7276-491B64F95A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3AE6B8B1-DFF6-137F-9AF2-A7927A3E16F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99281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5A07D2E9-D6FA-7A10-FCDC-E549943C69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FA60219C-C508-77BC-4C85-9E2568DA0F0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311C9554-BB38-7883-684B-84A9834BA20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A9109206-5CC9-104E-535C-A351A1AA624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40784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E3745A1B-C4AB-A89F-5185-1CEE43066F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D2145991-EE38-D1B7-3DC2-2AA337AE89F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908CC68E-947E-96AF-A8B6-2579E602ECB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1ED19C44-C24F-AAAB-8254-817BCAEE072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53090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2493D062-191B-48FB-C641-29323BF18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D78A6BA7-0F80-7FC7-FD56-441868712A6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1A6F32B8-4850-A494-09AE-909DC636A78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56C0A47C-2D32-3A14-AB73-DE667716139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2783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C85E7B6B-4D11-3D6E-A44D-2C910133E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7A77DBE6-DE8D-7FAD-C9E3-5A965F64650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E8F793FF-91A2-9B19-1DD0-F5DA5F9471D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B4D5F57C-F79B-DC4E-C4CF-2C5E84E4F74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79240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79C11C56-8540-02FB-2B8C-19C01C62D8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7F26B73F-3A55-1155-7355-24DF0600A6A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7D80B899-159C-1F6F-31DD-5A33630D528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B6E39F26-4AD3-475A-2133-446C8A1126E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0357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9D5D3B1C-A214-FE52-2D06-46C174E6E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DE3C6C16-C4A6-6B35-7CEB-F3EE9CA072F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9D2D22DC-A253-42BB-1B65-888AEF4B7B5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2B342566-47AB-717F-545C-D851CF22B19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16314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23F2FB0D-3150-AE72-12BF-9A1E83CA69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8DD87C93-DD4A-927C-EABB-AE8D46B2400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6C161919-94EC-82E3-A870-A8913CC8CC5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CFFF9C48-7EAE-3B10-4D89-DEA8757BC9D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66364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DBA1D037-64B0-8F0E-C5D7-0BDE21F92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2D5A42A2-B893-18EB-07E3-45550CCE96B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7CD8139C-3D45-5283-B88E-40B0621044A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832814B8-4CFC-C773-ED1C-5824443F034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5580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84F67553-EB78-6211-C617-88621CDE8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DCBC1780-9B4F-0CE3-AAC1-35C830D9A48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EEE01833-4198-D0AA-12A0-B50DDE14D55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73BD6CE6-693A-1532-93BF-8E06211698E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44007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34967BCD-417B-C2D2-3A2B-06CCCC3861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32396EEE-2494-037E-1976-9C82F4B097D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7E7E6C21-8013-4400-5676-84C1867FFCC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1CC5026F-60D8-9FF1-CF9F-B47033760DC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72344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>
          <a:extLst>
            <a:ext uri="{FF2B5EF4-FFF2-40B4-BE49-F238E27FC236}">
              <a16:creationId xmlns:a16="http://schemas.microsoft.com/office/drawing/2014/main" id="{2F4C4505-6AFC-8242-F2FB-60FDEE30EC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6:notes">
            <a:extLst>
              <a:ext uri="{FF2B5EF4-FFF2-40B4-BE49-F238E27FC236}">
                <a16:creationId xmlns:a16="http://schemas.microsoft.com/office/drawing/2014/main" id="{7D1DD840-832C-4D2D-7E40-EBD9BB7289F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p6:notes">
            <a:extLst>
              <a:ext uri="{FF2B5EF4-FFF2-40B4-BE49-F238E27FC236}">
                <a16:creationId xmlns:a16="http://schemas.microsoft.com/office/drawing/2014/main" id="{4FD290D2-80B3-F619-E482-72CFFB77D66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249" name="Google Shape;249;p6:notes">
            <a:extLst>
              <a:ext uri="{FF2B5EF4-FFF2-40B4-BE49-F238E27FC236}">
                <a16:creationId xmlns:a16="http://schemas.microsoft.com/office/drawing/2014/main" id="{28843009-4B9D-E2E8-971D-1CE8E0C28B6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38607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6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9.png"/><Relationship Id="rId5" Type="http://schemas.openxmlformats.org/officeDocument/2006/relationships/tags" Target="../tags/tag1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image" Target="../media/image9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9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image" Target="../media/image9.png"/><Relationship Id="rId4" Type="http://schemas.openxmlformats.org/officeDocument/2006/relationships/tags" Target="../tags/tag44.xml"/><Relationship Id="rId9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image" Target="../media/image9.png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image" Target="../media/image9.png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image" Target="../media/image9.png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9.png"/><Relationship Id="rId5" Type="http://schemas.openxmlformats.org/officeDocument/2006/relationships/tags" Target="../tags/tag7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78.xml"/><Relationship Id="rId9" Type="http://schemas.openxmlformats.org/officeDocument/2006/relationships/tags" Target="../tags/tag8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image" Target="../media/image9.png"/><Relationship Id="rId5" Type="http://schemas.openxmlformats.org/officeDocument/2006/relationships/tags" Target="../tags/tag88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0.xml"/><Relationship Id="rId1" Type="http://schemas.openxmlformats.org/officeDocument/2006/relationships/tags" Target="../tags/tag99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0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0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4" Type="http://schemas.openxmlformats.org/officeDocument/2006/relationships/tags" Target="../tags/tag110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5" Type="http://schemas.openxmlformats.org/officeDocument/2006/relationships/tags" Target="../tags/tag117.xml"/><Relationship Id="rId10" Type="http://schemas.openxmlformats.org/officeDocument/2006/relationships/image" Target="../media/image9.png"/><Relationship Id="rId4" Type="http://schemas.openxmlformats.org/officeDocument/2006/relationships/tags" Target="../tags/tag116.xml"/><Relationship Id="rId9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image" Target="../media/image9.png"/><Relationship Id="rId4" Type="http://schemas.openxmlformats.org/officeDocument/2006/relationships/tags" Target="../tags/tag124.xml"/><Relationship Id="rId9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5" Type="http://schemas.openxmlformats.org/officeDocument/2006/relationships/tags" Target="../tags/tag133.xml"/><Relationship Id="rId10" Type="http://schemas.openxmlformats.org/officeDocument/2006/relationships/tags" Target="../tags/tag138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image" Target="../media/image9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3" Type="http://schemas.openxmlformats.org/officeDocument/2006/relationships/tags" Target="../tags/tag143.xml"/><Relationship Id="rId21" Type="http://schemas.openxmlformats.org/officeDocument/2006/relationships/image" Target="../media/image9.png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0" Type="http://schemas.openxmlformats.org/officeDocument/2006/relationships/slideMaster" Target="../slideMasters/slideMaster3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7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image" Target="../media/image14.png"/><Relationship Id="rId5" Type="http://schemas.openxmlformats.org/officeDocument/2006/relationships/tags" Target="../tags/tag172.xml"/><Relationship Id="rId10" Type="http://schemas.openxmlformats.org/officeDocument/2006/relationships/image" Target="../media/image13.png"/><Relationship Id="rId4" Type="http://schemas.openxmlformats.org/officeDocument/2006/relationships/tags" Target="../tags/tag171.xml"/><Relationship Id="rId9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7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image" Target="../media/image14.png"/><Relationship Id="rId5" Type="http://schemas.openxmlformats.org/officeDocument/2006/relationships/tags" Target="../tags/tag178.xml"/><Relationship Id="rId10" Type="http://schemas.openxmlformats.org/officeDocument/2006/relationships/image" Target="../media/image13.png"/><Relationship Id="rId4" Type="http://schemas.openxmlformats.org/officeDocument/2006/relationships/tags" Target="../tags/tag177.xml"/><Relationship Id="rId9" Type="http://schemas.openxmlformats.org/officeDocument/2006/relationships/image" Target="../media/image12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8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11" Type="http://schemas.openxmlformats.org/officeDocument/2006/relationships/image" Target="../media/image14.png"/><Relationship Id="rId5" Type="http://schemas.openxmlformats.org/officeDocument/2006/relationships/tags" Target="../tags/tag184.xml"/><Relationship Id="rId10" Type="http://schemas.openxmlformats.org/officeDocument/2006/relationships/image" Target="../media/image13.png"/><Relationship Id="rId4" Type="http://schemas.openxmlformats.org/officeDocument/2006/relationships/tags" Target="../tags/tag183.xml"/><Relationship Id="rId9" Type="http://schemas.openxmlformats.org/officeDocument/2006/relationships/image" Target="../media/image12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8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tags" Target="../tags/tag191.xml"/><Relationship Id="rId11" Type="http://schemas.openxmlformats.org/officeDocument/2006/relationships/image" Target="../media/image14.png"/><Relationship Id="rId5" Type="http://schemas.openxmlformats.org/officeDocument/2006/relationships/tags" Target="../tags/tag190.xml"/><Relationship Id="rId10" Type="http://schemas.openxmlformats.org/officeDocument/2006/relationships/image" Target="../media/image13.png"/><Relationship Id="rId4" Type="http://schemas.openxmlformats.org/officeDocument/2006/relationships/tags" Target="../tags/tag189.xml"/><Relationship Id="rId9" Type="http://schemas.openxmlformats.org/officeDocument/2006/relationships/image" Target="../media/image15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94.xml"/><Relationship Id="rId7" Type="http://schemas.openxmlformats.org/officeDocument/2006/relationships/image" Target="../media/image16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97.xml"/><Relationship Id="rId7" Type="http://schemas.openxmlformats.org/officeDocument/2006/relationships/oleObject" Target="../embeddings/oleObject1.bin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18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8.xml"/><Relationship Id="rId9" Type="http://schemas.openxmlformats.org/officeDocument/2006/relationships/image" Target="../media/image1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201.xml"/><Relationship Id="rId7" Type="http://schemas.openxmlformats.org/officeDocument/2006/relationships/oleObject" Target="../embeddings/oleObject1.bin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03.xml"/><Relationship Id="rId10" Type="http://schemas.openxmlformats.org/officeDocument/2006/relationships/image" Target="../media/image17.png"/><Relationship Id="rId4" Type="http://schemas.openxmlformats.org/officeDocument/2006/relationships/tags" Target="../tags/tag202.xml"/><Relationship Id="rId9" Type="http://schemas.openxmlformats.org/officeDocument/2006/relationships/image" Target="../media/image16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6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2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userDrawn="1">
  <p:cSld name="TITL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orful lines on a black background&#10;&#10;AI-generated content may be incorrect.">
            <a:extLst>
              <a:ext uri="{FF2B5EF4-FFF2-40B4-BE49-F238E27FC236}">
                <a16:creationId xmlns:a16="http://schemas.microsoft.com/office/drawing/2014/main" id="{A052083D-CBBF-C1CD-112E-710CCBD152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-3573893" y="2620921"/>
            <a:ext cx="7899839" cy="2657995"/>
          </a:xfrm>
          <a:prstGeom prst="rect">
            <a:avLst/>
          </a:prstGeom>
        </p:spPr>
      </p:pic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CCEC8D-7595-E4C6-AD61-AB4C59C6EE8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36044" t="27334" r="37005" b="47378"/>
          <a:stretch>
            <a:fillRect/>
          </a:stretch>
        </p:blipFill>
        <p:spPr>
          <a:xfrm>
            <a:off x="376026" y="3230425"/>
            <a:ext cx="2076220" cy="1095783"/>
          </a:xfrm>
          <a:prstGeom prst="rect">
            <a:avLst/>
          </a:prstGeom>
        </p:spPr>
      </p:pic>
      <p:pic>
        <p:nvPicPr>
          <p:cNvPr id="5" name="Google Shape;10;p1" title="dunamis horizontal Transparace.png">
            <a:extLst>
              <a:ext uri="{FF2B5EF4-FFF2-40B4-BE49-F238E27FC236}">
                <a16:creationId xmlns:a16="http://schemas.microsoft.com/office/drawing/2014/main" id="{79EA374D-9870-4EE4-9EE6-F45040149118}"/>
              </a:ext>
            </a:extLst>
          </p:cNvPr>
          <p:cNvPicPr preferRelativeResize="0"/>
          <p:nvPr userDrawn="1"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33048" y="220149"/>
            <a:ext cx="1271977" cy="4181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8B17199-2624-B7A3-0741-329121B987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93621" y="817292"/>
            <a:ext cx="6380061" cy="2052600"/>
          </a:xfrm>
        </p:spPr>
        <p:txBody>
          <a:bodyPr/>
          <a:lstStyle>
            <a:lvl1pPr>
              <a:defRPr sz="3600"/>
            </a:lvl1pPr>
          </a:lstStyle>
          <a:p>
            <a:pPr algn="l"/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CO-MISSIONING PROGRAM:</a:t>
            </a:r>
            <a:br>
              <a:rPr lang="en-US" sz="2000" dirty="0">
                <a:solidFill>
                  <a:schemeClr val="bg2">
                    <a:lumMod val="75000"/>
                  </a:schemeClr>
                </a:solidFill>
                <a:latin typeface="Montserrat" pitchFamily="2" charset="77"/>
              </a:rPr>
            </a:br>
            <a:r>
              <a:rPr lang="en-US" sz="4000" b="1" dirty="0">
                <a:latin typeface="Montserrat" pitchFamily="2" charset="77"/>
              </a:rPr>
              <a:t>FROM VALUES TO CORPORATE CULTU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95053813-D27C-A5EA-C56F-5D5F71580A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93628" y="2324409"/>
            <a:ext cx="6380054" cy="792600"/>
          </a:xfrm>
        </p:spPr>
        <p:txBody>
          <a:bodyPr/>
          <a:lstStyle>
            <a:lvl1pPr marL="114300" indent="0">
              <a:buNone/>
              <a:defRPr sz="1400"/>
            </a:lvl1pPr>
          </a:lstStyle>
          <a:p>
            <a:pPr algn="l"/>
            <a:r>
              <a:rPr lang="en-US" sz="1600" b="1" dirty="0">
                <a:solidFill>
                  <a:srgbClr val="EE272F"/>
                </a:solidFill>
                <a:latin typeface="Montserrat" pitchFamily="2" charset="77"/>
              </a:rPr>
              <a:t>PARTICIPANT WORKSHEET</a:t>
            </a:r>
          </a:p>
        </p:txBody>
      </p:sp>
      <p:pic>
        <p:nvPicPr>
          <p:cNvPr id="7" name="Picture 6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14D34346-3B5C-7FBE-782F-29F8AB853DB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1" name="Google Shape;41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2" name="Google Shape;42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692B2B43-EEBE-F348-BF1C-D3F8A73D1C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7C6102F-83B2-B2A4-341E-3DF219946960}"/>
              </a:ext>
            </a:extLst>
          </p:cNvPr>
          <p:cNvSpPr txBox="1"/>
          <p:nvPr userDrawn="1"/>
        </p:nvSpPr>
        <p:spPr>
          <a:xfrm>
            <a:off x="7727266" y="4931926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6E554F4-55B0-C2C4-7F8F-1487F9DEBD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00236" y="594093"/>
            <a:ext cx="3655772" cy="365577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89BE4AF-1AB0-78FD-FA53-15F525D754B8}"/>
              </a:ext>
            </a:extLst>
          </p:cNvPr>
          <p:cNvSpPr/>
          <p:nvPr userDrawn="1"/>
        </p:nvSpPr>
        <p:spPr>
          <a:xfrm>
            <a:off x="5162550" y="438150"/>
            <a:ext cx="3752850" cy="3876675"/>
          </a:xfrm>
          <a:prstGeom prst="rect">
            <a:avLst/>
          </a:prstGeom>
          <a:noFill/>
          <a:ln w="730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389925759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DAD6041-1BF4-A740-A27B-73D4C98AC835}"/>
              </a:ext>
            </a:extLst>
          </p:cNvPr>
          <p:cNvGrpSpPr/>
          <p:nvPr userDrawn="1"/>
        </p:nvGrpSpPr>
        <p:grpSpPr>
          <a:xfrm>
            <a:off x="4703109" y="-1"/>
            <a:ext cx="4440891" cy="5143500"/>
            <a:chOff x="6270812" y="-1"/>
            <a:chExt cx="5921188" cy="6858000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7837D5F0-2906-814C-820E-BF910BE1876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30493" r="11921"/>
            <a:stretch/>
          </p:blipFill>
          <p:spPr>
            <a:xfrm>
              <a:off x="6270812" y="-1"/>
              <a:ext cx="5921188" cy="6858000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CBB8CBC6-7628-A248-97CA-D36BFD55C3F2}"/>
                </a:ext>
              </a:extLst>
            </p:cNvPr>
            <p:cNvSpPr/>
            <p:nvPr userDrawn="1"/>
          </p:nvSpPr>
          <p:spPr>
            <a:xfrm>
              <a:off x="9413875" y="2447925"/>
              <a:ext cx="155575" cy="676275"/>
            </a:xfrm>
            <a:prstGeom prst="rect">
              <a:avLst/>
            </a:prstGeom>
            <a:solidFill>
              <a:srgbClr val="B2A08C"/>
            </a:solidFill>
            <a:ln>
              <a:solidFill>
                <a:srgbClr val="AE9E8D">
                  <a:alpha val="84375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DEA9CA32-D828-4641-9063-E6F5BBB95568}"/>
              </a:ext>
            </a:extLst>
          </p:cNvPr>
          <p:cNvSpPr/>
          <p:nvPr userDrawn="1"/>
        </p:nvSpPr>
        <p:spPr>
          <a:xfrm>
            <a:off x="0" y="-1"/>
            <a:ext cx="4703109" cy="5143501"/>
          </a:xfrm>
          <a:prstGeom prst="rect">
            <a:avLst/>
          </a:prstGeom>
          <a:solidFill>
            <a:srgbClr val="F3724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1F8AC0-2A9A-D946-B2A1-754E5973F30F}"/>
              </a:ext>
            </a:extLst>
          </p:cNvPr>
          <p:cNvSpPr txBox="1"/>
          <p:nvPr userDrawn="1"/>
        </p:nvSpPr>
        <p:spPr>
          <a:xfrm>
            <a:off x="135802" y="1943150"/>
            <a:ext cx="4488256" cy="10286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342900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0" b="1" i="0" spc="0" baseline="0" dirty="0">
                <a:solidFill>
                  <a:schemeClr val="bg1"/>
                </a:solidFill>
                <a:effectLst/>
                <a:latin typeface="HelveticaNeueLT Std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engthen</a:t>
            </a:r>
            <a:r>
              <a:rPr lang="en-US" sz="4500" b="0" i="0" spc="0" baseline="0" dirty="0">
                <a:solidFill>
                  <a:schemeClr val="bg1"/>
                </a:solidFill>
                <a:effectLst/>
                <a:latin typeface="HelveticaNeueLT Std Thin" panose="020B04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mmunications</a:t>
            </a:r>
            <a:endParaRPr lang="en-US" sz="4500" b="0" i="0" spc="0" baseline="0" dirty="0">
              <a:solidFill>
                <a:schemeClr val="bg1"/>
              </a:solidFill>
              <a:latin typeface="HelveticaNeueLT Std Thin" panose="020B0403020202020204" pitchFamily="34" charset="0"/>
            </a:endParaRPr>
          </a:p>
        </p:txBody>
      </p:sp>
      <p:pic>
        <p:nvPicPr>
          <p:cNvPr id="8" name="Picture 7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3741C834-7F1E-3B40-8DFE-2E14D2CE740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6893FE1-4E53-5B44-BA45-9C5F09684519}"/>
              </a:ext>
            </a:extLst>
          </p:cNvPr>
          <p:cNvSpPr txBox="1"/>
          <p:nvPr userDrawn="1"/>
        </p:nvSpPr>
        <p:spPr>
          <a:xfrm>
            <a:off x="3220820" y="4755982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 pitchFamily="34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604055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 Quote/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3961003"/>
          </a:xfrm>
          <a:prstGeom prst="rect">
            <a:avLst/>
          </a:prstGeom>
          <a:solidFill>
            <a:srgbClr val="F3724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3" name="Picture 2" descr="Text&#10;&#10;Description automatically generated with medium confidence">
            <a:extLst>
              <a:ext uri="{FF2B5EF4-FFF2-40B4-BE49-F238E27FC236}">
                <a16:creationId xmlns:a16="http://schemas.microsoft.com/office/drawing/2014/main" id="{8B6432FE-8F5E-C94A-B73C-6C59B54A35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33969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1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1420E10-340E-4644-AF96-739FB689676C}"/>
              </a:ext>
            </a:extLst>
          </p:cNvPr>
          <p:cNvSpPr/>
          <p:nvPr/>
        </p:nvSpPr>
        <p:spPr>
          <a:xfrm>
            <a:off x="0" y="0"/>
            <a:ext cx="9144000" cy="749401"/>
          </a:xfrm>
          <a:prstGeom prst="rect">
            <a:avLst/>
          </a:prstGeom>
          <a:solidFill>
            <a:srgbClr val="F3724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5029" y="231701"/>
            <a:ext cx="8011590" cy="4190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700" b="0" i="0" cap="none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895" y="1688951"/>
            <a:ext cx="8272211" cy="275872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Clr>
                <a:schemeClr val="accent4"/>
              </a:buClr>
              <a:buFont typeface="Arial" panose="020B0604020202020204" pitchFamily="34" charset="0"/>
              <a:buNone/>
              <a:defRPr sz="2700">
                <a:solidFill>
                  <a:srgbClr val="B9488F"/>
                </a:solidFill>
              </a:defRPr>
            </a:lvl1pPr>
            <a:lvl2pPr marL="472500" indent="-229500">
              <a:buClr>
                <a:srgbClr val="B9488F"/>
              </a:buClr>
              <a:buFont typeface="Arial" panose="020B0604020202020204" pitchFamily="34" charset="0"/>
              <a:buChar char="•"/>
              <a:defRPr sz="2400"/>
            </a:lvl2pPr>
            <a:lvl3pPr marL="675000" indent="-202500">
              <a:buClr>
                <a:srgbClr val="B9488F"/>
              </a:buClr>
              <a:buFont typeface="Arial" panose="020B0604020202020204" pitchFamily="34" charset="0"/>
              <a:buChar char="•"/>
              <a:defRPr sz="2100"/>
            </a:lvl3pPr>
            <a:lvl4pPr marL="931500" indent="-175500">
              <a:buClr>
                <a:srgbClr val="B9488F"/>
              </a:buClr>
              <a:buFont typeface="Arial" panose="020B0604020202020204" pitchFamily="34" charset="0"/>
              <a:buChar char="•"/>
              <a:defRPr sz="1800"/>
            </a:lvl4pPr>
            <a:lvl5pPr marL="1201500" indent="-175500">
              <a:buClr>
                <a:srgbClr val="B9488F"/>
              </a:buClr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E9218B4B-7836-2246-A8DC-C720678716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42670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A134C804-1CDF-0941-AB08-2E8256C3CA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803" r="31637"/>
          <a:stretch/>
        </p:blipFill>
        <p:spPr>
          <a:xfrm>
            <a:off x="4703109" y="-1"/>
            <a:ext cx="4440891" cy="51435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3B3645DA-5D53-4E43-863D-891862AF9519}"/>
              </a:ext>
            </a:extLst>
          </p:cNvPr>
          <p:cNvSpPr/>
          <p:nvPr userDrawn="1"/>
        </p:nvSpPr>
        <p:spPr>
          <a:xfrm>
            <a:off x="0" y="-1"/>
            <a:ext cx="4703109" cy="5143501"/>
          </a:xfrm>
          <a:prstGeom prst="rect">
            <a:avLst/>
          </a:prstGeom>
          <a:solidFill>
            <a:srgbClr val="B94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7B9721C-5946-9C41-B3BC-39A0AFC62AEF}"/>
              </a:ext>
            </a:extLst>
          </p:cNvPr>
          <p:cNvSpPr txBox="1"/>
          <p:nvPr userDrawn="1"/>
        </p:nvSpPr>
        <p:spPr>
          <a:xfrm>
            <a:off x="587590" y="1712404"/>
            <a:ext cx="3984410" cy="10286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342900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0" b="0" i="0" kern="1200" dirty="0">
                <a:solidFill>
                  <a:schemeClr val="bg1"/>
                </a:solidFill>
                <a:effectLst/>
                <a:latin typeface="HelveticaNeueLT Std Thin" panose="020B0403020202020204" pitchFamily="34" charset="0"/>
                <a:ea typeface="+mn-ea"/>
                <a:cs typeface="+mn-cs"/>
              </a:rPr>
              <a:t>Create a </a:t>
            </a:r>
            <a:r>
              <a:rPr lang="en-US" sz="4500" b="1" i="0" kern="1200" dirty="0">
                <a:solidFill>
                  <a:schemeClr val="bg1"/>
                </a:solidFill>
                <a:effectLst/>
                <a:latin typeface="HelveticaNeueLT Std" panose="020B0604020202020204" pitchFamily="34" charset="0"/>
                <a:ea typeface="+mn-ea"/>
                <a:cs typeface="+mn-cs"/>
              </a:rPr>
              <a:t>Sense of Belonging </a:t>
            </a:r>
            <a:endParaRPr lang="en-US" sz="4500" b="1" i="0" spc="0" baseline="0" dirty="0">
              <a:solidFill>
                <a:schemeClr val="bg1"/>
              </a:solidFill>
              <a:latin typeface="HelveticaNeueLT Std" panose="020B0604020202020204" pitchFamily="34" charset="0"/>
            </a:endParaRPr>
          </a:p>
        </p:txBody>
      </p:sp>
      <p:pic>
        <p:nvPicPr>
          <p:cNvPr id="6" name="Picture 5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F32F8A56-1CB8-F34F-B0D5-5195AD69CE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50F08B-D5C8-2042-8DC2-4295E9390AA7}"/>
              </a:ext>
            </a:extLst>
          </p:cNvPr>
          <p:cNvSpPr txBox="1"/>
          <p:nvPr userDrawn="1"/>
        </p:nvSpPr>
        <p:spPr>
          <a:xfrm>
            <a:off x="3220820" y="4755982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 pitchFamily="34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4220958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 Quote/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3961003"/>
          </a:xfrm>
          <a:prstGeom prst="rect">
            <a:avLst/>
          </a:prstGeom>
          <a:solidFill>
            <a:srgbClr val="B94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Text&#10;&#10;Description automatically generated with medium confidence">
            <a:extLst>
              <a:ext uri="{FF2B5EF4-FFF2-40B4-BE49-F238E27FC236}">
                <a16:creationId xmlns:a16="http://schemas.microsoft.com/office/drawing/2014/main" id="{B86E6188-CD41-D64A-9D54-70C36DA6CD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85905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436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B54D61-526C-5149-A9AD-BC8652A1057D}"/>
              </a:ext>
            </a:extLst>
          </p:cNvPr>
          <p:cNvSpPr txBox="1"/>
          <p:nvPr userDrawn="1"/>
        </p:nvSpPr>
        <p:spPr>
          <a:xfrm>
            <a:off x="1" y="1596291"/>
            <a:ext cx="9143999" cy="6066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342900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100" b="1" i="0" kern="1200" dirty="0">
                <a:solidFill>
                  <a:srgbClr val="B9488F"/>
                </a:solidFill>
                <a:effectLst/>
                <a:latin typeface="HelveticaNeueLT Std" panose="020B0604020202020204" pitchFamily="34" charset="0"/>
                <a:ea typeface="+mn-ea"/>
                <a:cs typeface="+mn-cs"/>
              </a:rPr>
              <a:t>POLL:</a:t>
            </a:r>
            <a:endParaRPr lang="en-US" sz="2100" b="1" i="0" spc="0" baseline="0" dirty="0">
              <a:solidFill>
                <a:srgbClr val="B9488F"/>
              </a:solidFill>
              <a:latin typeface="HelveticaNeueLT Std" panose="020B0604020202020204" pitchFamily="34" charset="0"/>
            </a:endParaRPr>
          </a:p>
        </p:txBody>
      </p:sp>
      <p:pic>
        <p:nvPicPr>
          <p:cNvPr id="5" name="Picture 4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D903D4A4-439E-C947-9A0B-81561D3A44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B9AC2D1-531B-AA45-B30F-8A7D59DA131C}"/>
              </a:ext>
            </a:extLst>
          </p:cNvPr>
          <p:cNvSpPr txBox="1"/>
          <p:nvPr userDrawn="1"/>
        </p:nvSpPr>
        <p:spPr>
          <a:xfrm>
            <a:off x="7727266" y="4931926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904891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B94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B54D61-526C-5149-A9AD-BC8652A1057D}"/>
              </a:ext>
            </a:extLst>
          </p:cNvPr>
          <p:cNvSpPr txBox="1"/>
          <p:nvPr userDrawn="1"/>
        </p:nvSpPr>
        <p:spPr>
          <a:xfrm>
            <a:off x="1" y="1596291"/>
            <a:ext cx="9143999" cy="6066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342900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100" b="1" i="0" kern="1200" dirty="0">
                <a:solidFill>
                  <a:schemeClr val="bg1"/>
                </a:solidFill>
                <a:effectLst/>
                <a:latin typeface="HelveticaNeueLT Std" panose="020B0604020202020204" pitchFamily="34" charset="0"/>
                <a:ea typeface="+mn-ea"/>
                <a:cs typeface="+mn-cs"/>
              </a:rPr>
              <a:t>BREAKOUT:</a:t>
            </a:r>
            <a:endParaRPr lang="en-US" sz="2100" b="1" i="0" spc="0" baseline="0" dirty="0">
              <a:solidFill>
                <a:schemeClr val="bg1"/>
              </a:solidFill>
              <a:latin typeface="HelveticaNeueLT Std" panose="020B0604020202020204" pitchFamily="34" charset="0"/>
            </a:endParaRPr>
          </a:p>
        </p:txBody>
      </p:sp>
      <p:pic>
        <p:nvPicPr>
          <p:cNvPr id="5" name="Picture 4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5A4EBCE9-5D91-D04E-880D-219D02A9FE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5CE9C77-6CA5-234C-959F-9587F9CECD42}"/>
              </a:ext>
            </a:extLst>
          </p:cNvPr>
          <p:cNvSpPr txBox="1"/>
          <p:nvPr userDrawn="1"/>
        </p:nvSpPr>
        <p:spPr>
          <a:xfrm>
            <a:off x="7727266" y="4931926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5704081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break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3724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B54D61-526C-5149-A9AD-BC8652A1057D}"/>
              </a:ext>
            </a:extLst>
          </p:cNvPr>
          <p:cNvSpPr txBox="1"/>
          <p:nvPr userDrawn="1"/>
        </p:nvSpPr>
        <p:spPr>
          <a:xfrm>
            <a:off x="1" y="1596291"/>
            <a:ext cx="9143999" cy="6066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342900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100" b="1" i="0" kern="1200" dirty="0">
                <a:solidFill>
                  <a:schemeClr val="bg1"/>
                </a:solidFill>
                <a:effectLst/>
                <a:latin typeface="HelveticaNeueLT Std" panose="020B0604020202020204" pitchFamily="34" charset="0"/>
                <a:ea typeface="+mn-ea"/>
                <a:cs typeface="+mn-cs"/>
              </a:rPr>
              <a:t>BREAKOUT:</a:t>
            </a:r>
            <a:endParaRPr lang="en-US" sz="2100" b="1" i="0" spc="0" baseline="0" dirty="0">
              <a:solidFill>
                <a:schemeClr val="bg1"/>
              </a:solidFill>
              <a:latin typeface="HelveticaNeueLT Std" panose="020B0604020202020204" pitchFamily="34" charset="0"/>
            </a:endParaRPr>
          </a:p>
        </p:txBody>
      </p:sp>
      <p:pic>
        <p:nvPicPr>
          <p:cNvPr id="5" name="Picture 4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0BD0B84C-6C31-5243-B59B-E306AA4348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B3C0ACA-041C-9945-95A5-9E9621D7B859}"/>
              </a:ext>
            </a:extLst>
          </p:cNvPr>
          <p:cNvSpPr txBox="1"/>
          <p:nvPr userDrawn="1"/>
        </p:nvSpPr>
        <p:spPr>
          <a:xfrm>
            <a:off x="7727266" y="4931926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745676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bg with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3724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6CC74121-9E29-E942-95EF-3EB379E92A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266AF5F-6104-504E-BF36-093C47DABA88}"/>
              </a:ext>
            </a:extLst>
          </p:cNvPr>
          <p:cNvSpPr txBox="1"/>
          <p:nvPr userDrawn="1"/>
        </p:nvSpPr>
        <p:spPr>
          <a:xfrm>
            <a:off x="7727266" y="4931926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570293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5" name="Google Shape;45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G with copyright (dark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436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96C049B4-B920-964B-8DFA-BACF1D671E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C8A523E-9F5D-DB48-B780-2B689C57F67C}"/>
              </a:ext>
            </a:extLst>
          </p:cNvPr>
          <p:cNvSpPr txBox="1"/>
          <p:nvPr userDrawn="1"/>
        </p:nvSpPr>
        <p:spPr>
          <a:xfrm>
            <a:off x="7727266" y="4931926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33820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G with copyright (plu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B94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A0BF240B-64F1-2148-BCA9-F93D434D24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4EA8A45-0351-FB49-8EF2-676C64BCD83B}"/>
              </a:ext>
            </a:extLst>
          </p:cNvPr>
          <p:cNvSpPr txBox="1"/>
          <p:nvPr userDrawn="1"/>
        </p:nvSpPr>
        <p:spPr>
          <a:xfrm>
            <a:off x="7727266" y="4931926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8419877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G with copyright (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4FA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9D365CBB-16B9-B54A-AEDC-23F86991A4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3D97A21-D1D0-064D-9432-34B2F915BA07}"/>
              </a:ext>
            </a:extLst>
          </p:cNvPr>
          <p:cNvSpPr txBox="1"/>
          <p:nvPr userDrawn="1"/>
        </p:nvSpPr>
        <p:spPr>
          <a:xfrm>
            <a:off x="7727266" y="4931926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0178027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2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1420E10-340E-4644-AF96-739FB689676C}"/>
              </a:ext>
            </a:extLst>
          </p:cNvPr>
          <p:cNvSpPr/>
          <p:nvPr/>
        </p:nvSpPr>
        <p:spPr>
          <a:xfrm>
            <a:off x="0" y="0"/>
            <a:ext cx="9144000" cy="749401"/>
          </a:xfrm>
          <a:prstGeom prst="rect">
            <a:avLst/>
          </a:prstGeom>
          <a:solidFill>
            <a:srgbClr val="B94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5029" y="231701"/>
            <a:ext cx="8011590" cy="4190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700" b="0" i="0" cap="none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895" y="1688951"/>
            <a:ext cx="8272211" cy="275872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Clr>
                <a:schemeClr val="accent4"/>
              </a:buClr>
              <a:buFont typeface="Arial" panose="020B0604020202020204" pitchFamily="34" charset="0"/>
              <a:buNone/>
              <a:defRPr sz="2700">
                <a:solidFill>
                  <a:srgbClr val="F37247"/>
                </a:solidFill>
              </a:defRPr>
            </a:lvl1pPr>
            <a:lvl2pPr marL="472500" indent="-229500">
              <a:buClr>
                <a:srgbClr val="F37247"/>
              </a:buClr>
              <a:buFont typeface="Arial" panose="020B0604020202020204" pitchFamily="34" charset="0"/>
              <a:buChar char="•"/>
              <a:defRPr sz="2400"/>
            </a:lvl2pPr>
            <a:lvl3pPr marL="675000" indent="-202500">
              <a:buClr>
                <a:srgbClr val="F37247"/>
              </a:buClr>
              <a:buFont typeface="Arial" panose="020B0604020202020204" pitchFamily="34" charset="0"/>
              <a:buChar char="•"/>
              <a:defRPr sz="2100"/>
            </a:lvl3pPr>
            <a:lvl4pPr marL="931500" indent="-175500">
              <a:buClr>
                <a:srgbClr val="F37247"/>
              </a:buClr>
              <a:buFont typeface="Arial" panose="020B0604020202020204" pitchFamily="34" charset="0"/>
              <a:buChar char="•"/>
              <a:defRPr sz="1800"/>
            </a:lvl4pPr>
            <a:lvl5pPr marL="1201500" indent="-175500">
              <a:buClr>
                <a:srgbClr val="F37247"/>
              </a:buClr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CFC4609E-8755-264D-8352-2AC5AB3C19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6507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D88F227E-5883-4A4B-9652-A5CF393AFF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0834" r="21606"/>
          <a:stretch/>
        </p:blipFill>
        <p:spPr>
          <a:xfrm>
            <a:off x="4703109" y="-1"/>
            <a:ext cx="4440891" cy="51435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7664B7BF-9D1D-AB49-BC9E-ACA3ACE6582C}"/>
              </a:ext>
            </a:extLst>
          </p:cNvPr>
          <p:cNvSpPr/>
          <p:nvPr userDrawn="1"/>
        </p:nvSpPr>
        <p:spPr>
          <a:xfrm>
            <a:off x="0" y="-1"/>
            <a:ext cx="4703109" cy="5143501"/>
          </a:xfrm>
          <a:prstGeom prst="rect">
            <a:avLst/>
          </a:prstGeom>
          <a:solidFill>
            <a:srgbClr val="4FA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B6127DF-1BC7-B948-9749-57777C635B18}"/>
              </a:ext>
            </a:extLst>
          </p:cNvPr>
          <p:cNvSpPr txBox="1"/>
          <p:nvPr userDrawn="1"/>
        </p:nvSpPr>
        <p:spPr>
          <a:xfrm>
            <a:off x="386296" y="1712404"/>
            <a:ext cx="4235726" cy="10286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342900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0" b="0" i="0" kern="1200" dirty="0">
                <a:solidFill>
                  <a:schemeClr val="bg1"/>
                </a:solidFill>
                <a:effectLst/>
                <a:latin typeface="HelveticaNeueLT Std Thin" panose="020B0403020202020204" pitchFamily="34" charset="0"/>
                <a:ea typeface="+mn-ea"/>
                <a:cs typeface="+mn-cs"/>
              </a:rPr>
              <a:t>Balance </a:t>
            </a:r>
            <a:r>
              <a:rPr lang="en-US" sz="4500" b="1" i="0" kern="1200" dirty="0">
                <a:solidFill>
                  <a:schemeClr val="bg1"/>
                </a:solidFill>
                <a:effectLst/>
                <a:latin typeface="HelveticaNeueLT Std" panose="020B0604020202020204" pitchFamily="34" charset="0"/>
                <a:ea typeface="+mn-ea"/>
                <a:cs typeface="+mn-cs"/>
              </a:rPr>
              <a:t>Accountability With Flexibility </a:t>
            </a:r>
            <a:endParaRPr lang="en-US" sz="4500" b="1" i="0" spc="0" baseline="0" dirty="0">
              <a:solidFill>
                <a:schemeClr val="bg1"/>
              </a:solidFill>
              <a:latin typeface="HelveticaNeueLT Std" panose="020B0604020202020204" pitchFamily="34" charset="0"/>
            </a:endParaRPr>
          </a:p>
        </p:txBody>
      </p:sp>
      <p:pic>
        <p:nvPicPr>
          <p:cNvPr id="6" name="Picture 5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E4620F45-A410-F548-BE67-DDD98CD322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7248CA8-3876-E64B-B374-1FB56CD7F299}"/>
              </a:ext>
            </a:extLst>
          </p:cNvPr>
          <p:cNvSpPr txBox="1"/>
          <p:nvPr userDrawn="1"/>
        </p:nvSpPr>
        <p:spPr>
          <a:xfrm>
            <a:off x="3220820" y="4755982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 pitchFamily="34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653362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 Quote/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3961003"/>
          </a:xfrm>
          <a:prstGeom prst="rect">
            <a:avLst/>
          </a:prstGeom>
          <a:solidFill>
            <a:srgbClr val="4FA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Text&#10;&#10;Description automatically generated with medium confidence">
            <a:extLst>
              <a:ext uri="{FF2B5EF4-FFF2-40B4-BE49-F238E27FC236}">
                <a16:creationId xmlns:a16="http://schemas.microsoft.com/office/drawing/2014/main" id="{A43D9615-0585-2648-9D0A-E03400F762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29370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3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1420E10-340E-4644-AF96-739FB689676C}"/>
              </a:ext>
            </a:extLst>
          </p:cNvPr>
          <p:cNvSpPr/>
          <p:nvPr/>
        </p:nvSpPr>
        <p:spPr>
          <a:xfrm>
            <a:off x="0" y="0"/>
            <a:ext cx="9144000" cy="749401"/>
          </a:xfrm>
          <a:prstGeom prst="rect">
            <a:avLst/>
          </a:prstGeom>
          <a:solidFill>
            <a:srgbClr val="4FA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5029" y="231701"/>
            <a:ext cx="8011590" cy="4190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700" b="0" i="0" cap="none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895" y="1688951"/>
            <a:ext cx="8272211" cy="275872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Clr>
                <a:schemeClr val="accent4"/>
              </a:buClr>
              <a:buFont typeface="Arial" panose="020B0604020202020204" pitchFamily="34" charset="0"/>
              <a:buNone/>
              <a:defRPr sz="2700">
                <a:solidFill>
                  <a:srgbClr val="4FA2D2"/>
                </a:solidFill>
              </a:defRPr>
            </a:lvl1pPr>
            <a:lvl2pPr marL="472500" indent="-229500">
              <a:buClr>
                <a:srgbClr val="4FA2D2"/>
              </a:buClr>
              <a:buFont typeface="Wingdings" pitchFamily="2" charset="2"/>
              <a:buChar char="§"/>
              <a:defRPr sz="2400"/>
            </a:lvl2pPr>
            <a:lvl3pPr marL="675000" indent="-202500">
              <a:buClr>
                <a:srgbClr val="4FA2D2"/>
              </a:buClr>
              <a:buFont typeface="Wingdings" pitchFamily="2" charset="2"/>
              <a:buChar char="§"/>
              <a:defRPr sz="2100"/>
            </a:lvl3pPr>
            <a:lvl4pPr marL="931500" indent="-175500">
              <a:buClr>
                <a:srgbClr val="4FA2D2"/>
              </a:buClr>
              <a:buFont typeface="Wingdings" pitchFamily="2" charset="2"/>
              <a:buChar char="§"/>
              <a:defRPr sz="1800"/>
            </a:lvl4pPr>
            <a:lvl5pPr marL="1201500" indent="-175500">
              <a:buClr>
                <a:srgbClr val="4FA2D2"/>
              </a:buClr>
              <a:buFont typeface="Wingdings" pitchFamily="2" charset="2"/>
              <a:buChar char="§"/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2F339339-43A8-FF4E-A172-49B4788DAF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28642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536C8-7932-6644-A966-9A875280B2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Text&#10;&#10;Description automatically generated with medium confidence">
            <a:extLst>
              <a:ext uri="{FF2B5EF4-FFF2-40B4-BE49-F238E27FC236}">
                <a16:creationId xmlns:a16="http://schemas.microsoft.com/office/drawing/2014/main" id="{F9CA8C1C-967E-504B-927A-D6B5395F8E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73419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4DB845-764A-8C47-B0D2-7578A6920B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F7AAD2E-185E-284D-A254-C205E3DD04EC}"/>
              </a:ext>
            </a:extLst>
          </p:cNvPr>
          <p:cNvSpPr/>
          <p:nvPr userDrawn="1"/>
        </p:nvSpPr>
        <p:spPr>
          <a:xfrm>
            <a:off x="1" y="0"/>
            <a:ext cx="9143999" cy="139304"/>
          </a:xfrm>
          <a:prstGeom prst="rect">
            <a:avLst/>
          </a:prstGeom>
          <a:gradFill flip="none" rotWithShape="1">
            <a:gsLst>
              <a:gs pos="20000">
                <a:srgbClr val="C00000"/>
              </a:gs>
              <a:gs pos="61000">
                <a:srgbClr val="C69D39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0D910A-E6DF-1248-82C8-F9069B5274B5}"/>
              </a:ext>
            </a:extLst>
          </p:cNvPr>
          <p:cNvSpPr/>
          <p:nvPr userDrawn="1"/>
        </p:nvSpPr>
        <p:spPr>
          <a:xfrm>
            <a:off x="0" y="371475"/>
            <a:ext cx="75438" cy="571500"/>
          </a:xfrm>
          <a:prstGeom prst="rect">
            <a:avLst/>
          </a:prstGeom>
          <a:solidFill>
            <a:srgbClr val="DA21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3E2A5E4-003F-1D4A-AFC7-5318EB6D4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79179"/>
            <a:ext cx="8229600" cy="3017520"/>
          </a:xfrm>
        </p:spPr>
        <p:txBody>
          <a:bodyPr wrap="square">
            <a:spAutoFit/>
          </a:bodyPr>
          <a:lstStyle>
            <a:lvl1pPr>
              <a:defRPr sz="2700" b="0" spc="0" baseline="0">
                <a:latin typeface="Tiempos Fine Light" panose="02020303060303060403" pitchFamily="18" charset="77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6177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160">
          <p15:clr>
            <a:srgbClr val="FBAE40"/>
          </p15:clr>
        </p15:guide>
        <p15:guide id="3" orient="horz" pos="312">
          <p15:clr>
            <a:srgbClr val="FBAE40"/>
          </p15:clr>
        </p15:guide>
        <p15:guide id="4" orient="horz" pos="792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userDrawn="1">
  <p:cSld name="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orful lines on a black background&#10;&#10;AI-generated content may be incorrect.">
            <a:extLst>
              <a:ext uri="{FF2B5EF4-FFF2-40B4-BE49-F238E27FC236}">
                <a16:creationId xmlns:a16="http://schemas.microsoft.com/office/drawing/2014/main" id="{A052083D-CBBF-C1CD-112E-710CCBD152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-3573893" y="2620921"/>
            <a:ext cx="7899839" cy="2657995"/>
          </a:xfrm>
          <a:prstGeom prst="rect">
            <a:avLst/>
          </a:prstGeom>
        </p:spPr>
      </p:pic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CCEC8D-7595-E4C6-AD61-AB4C59C6EE8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36044" t="27334" r="37005" b="47378"/>
          <a:stretch>
            <a:fillRect/>
          </a:stretch>
        </p:blipFill>
        <p:spPr>
          <a:xfrm>
            <a:off x="376026" y="3230425"/>
            <a:ext cx="2076220" cy="1095783"/>
          </a:xfrm>
          <a:prstGeom prst="rect">
            <a:avLst/>
          </a:prstGeom>
        </p:spPr>
      </p:pic>
      <p:pic>
        <p:nvPicPr>
          <p:cNvPr id="5" name="Google Shape;10;p1" title="dunamis horizontal Transparace.png">
            <a:extLst>
              <a:ext uri="{FF2B5EF4-FFF2-40B4-BE49-F238E27FC236}">
                <a16:creationId xmlns:a16="http://schemas.microsoft.com/office/drawing/2014/main" id="{79EA374D-9870-4EE4-9EE6-F45040149118}"/>
              </a:ext>
            </a:extLst>
          </p:cNvPr>
          <p:cNvPicPr preferRelativeResize="0"/>
          <p:nvPr userDrawn="1"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33048" y="220149"/>
            <a:ext cx="1271977" cy="4181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8B17199-2624-B7A3-0741-329121B987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93621" y="817292"/>
            <a:ext cx="6380061" cy="2052600"/>
          </a:xfrm>
        </p:spPr>
        <p:txBody>
          <a:bodyPr/>
          <a:lstStyle>
            <a:lvl1pPr>
              <a:defRPr sz="3600"/>
            </a:lvl1pPr>
          </a:lstStyle>
          <a:p>
            <a:pPr algn="l"/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CO-MISSIONING PROGRAM:</a:t>
            </a:r>
            <a:br>
              <a:rPr lang="en-US" sz="2000" dirty="0">
                <a:solidFill>
                  <a:schemeClr val="bg2">
                    <a:lumMod val="75000"/>
                  </a:schemeClr>
                </a:solidFill>
                <a:latin typeface="Montserrat" pitchFamily="2" charset="77"/>
              </a:rPr>
            </a:br>
            <a:r>
              <a:rPr lang="en-US" sz="4000" b="1" dirty="0">
                <a:latin typeface="Montserrat" pitchFamily="2" charset="77"/>
              </a:rPr>
              <a:t>FROM VALUES TO CORPORATE CULTU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95053813-D27C-A5EA-C56F-5D5F71580A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93628" y="2324409"/>
            <a:ext cx="6380054" cy="792600"/>
          </a:xfrm>
        </p:spPr>
        <p:txBody>
          <a:bodyPr/>
          <a:lstStyle>
            <a:lvl1pPr marL="114300" indent="0">
              <a:buNone/>
              <a:defRPr sz="1400"/>
            </a:lvl1pPr>
          </a:lstStyle>
          <a:p>
            <a:pPr algn="l"/>
            <a:r>
              <a:rPr lang="en-US" sz="1600" b="1" dirty="0">
                <a:solidFill>
                  <a:srgbClr val="EE272F"/>
                </a:solidFill>
                <a:latin typeface="Montserrat" pitchFamily="2" charset="77"/>
              </a:rPr>
              <a:t>PARTICIPANT WORKSHEET</a:t>
            </a:r>
          </a:p>
        </p:txBody>
      </p:sp>
      <p:pic>
        <p:nvPicPr>
          <p:cNvPr id="7" name="Picture 6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14D34346-3B5C-7FBE-782F-29F8AB853DB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70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8" name="Google Shape;48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9" name="Google Shape;49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2B92B82-54BA-68BA-72F7-624A4A4F690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38478866"/>
              </p:ext>
            </p:extLst>
          </p:nvPr>
        </p:nvGraphicFramePr>
        <p:xfrm>
          <a:off x="3025422" y="737384"/>
          <a:ext cx="5904089" cy="3907214"/>
        </p:xfrm>
        <a:graphic>
          <a:graphicData uri="http://schemas.openxmlformats.org/drawingml/2006/table">
            <a:tbl>
              <a:tblPr/>
              <a:tblGrid>
                <a:gridCol w="975923">
                  <a:extLst>
                    <a:ext uri="{9D8B030D-6E8A-4147-A177-3AD203B41FA5}">
                      <a16:colId xmlns:a16="http://schemas.microsoft.com/office/drawing/2014/main" val="389181004"/>
                    </a:ext>
                  </a:extLst>
                </a:gridCol>
                <a:gridCol w="1486299">
                  <a:extLst>
                    <a:ext uri="{9D8B030D-6E8A-4147-A177-3AD203B41FA5}">
                      <a16:colId xmlns:a16="http://schemas.microsoft.com/office/drawing/2014/main" val="1712190242"/>
                    </a:ext>
                  </a:extLst>
                </a:gridCol>
                <a:gridCol w="1759077">
                  <a:extLst>
                    <a:ext uri="{9D8B030D-6E8A-4147-A177-3AD203B41FA5}">
                      <a16:colId xmlns:a16="http://schemas.microsoft.com/office/drawing/2014/main" val="1012182211"/>
                    </a:ext>
                  </a:extLst>
                </a:gridCol>
                <a:gridCol w="1682790">
                  <a:extLst>
                    <a:ext uri="{9D8B030D-6E8A-4147-A177-3AD203B41FA5}">
                      <a16:colId xmlns:a16="http://schemas.microsoft.com/office/drawing/2014/main" val="3951246793"/>
                    </a:ext>
                  </a:extLst>
                </a:gridCol>
              </a:tblGrid>
              <a:tr h="28717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YWOR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JELASAN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’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N’T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534716"/>
                  </a:ext>
                </a:extLst>
              </a:tr>
              <a:tr h="862619"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LEARNING AGILITY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semang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al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pelajar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r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agar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u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lev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kemba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d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i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dustr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nsiste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eri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wakt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lajar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getahu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1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levan</a:t>
                      </a:r>
                      <a:r>
                        <a:rPr lang="en-ID" sz="700" b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kemba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rganisa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p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kai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kni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upu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no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kni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mas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gemba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r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emimpin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ola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ku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ubah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ua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p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hasil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299867"/>
                  </a:ext>
                </a:extLst>
              </a:tr>
              <a:tr h="674163"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NOVATIV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respo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ubah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jad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inisia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wujud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de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reatif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bai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kelanjut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ukur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tanggungjawab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lib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upaya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labora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iha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is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inova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eri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yan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maki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g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di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ul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r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l-ha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derhan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yampai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lal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nya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de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p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ti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yelesai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877927"/>
                  </a:ext>
                </a:extLst>
              </a:tr>
              <a:tr h="1124592"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SILIENCE 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unjuk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inerj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nsiste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ai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skipu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ad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i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wah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kan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ubah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u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eru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upu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angalam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gagal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ih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ta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ag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uang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lajar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kembang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ari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r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hadap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ta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lam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yelesai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uga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785831"/>
                  </a:ext>
                </a:extLst>
              </a:tr>
              <a:tr h="886071"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OPLE AGILITY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mp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angu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la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trategi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win-win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nil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mbah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uruh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mangk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enti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cap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si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harap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 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eta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key stakeholder internal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milik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upay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aham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ilakuny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hingg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p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ilih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dekat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p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interak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andal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orang-or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tent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interak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ystakeholder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“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li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”.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538823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8E931B3-E290-C15F-7677-495457B45A6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9262" t="19441" r="73842" b="55277"/>
          <a:stretch>
            <a:fillRect/>
          </a:stretch>
        </p:blipFill>
        <p:spPr>
          <a:xfrm>
            <a:off x="570435" y="878739"/>
            <a:ext cx="1842718" cy="155095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AABA887-7331-03E4-1671-4F8E437E732E}"/>
              </a:ext>
            </a:extLst>
          </p:cNvPr>
          <p:cNvSpPr txBox="1"/>
          <p:nvPr userDrawn="1"/>
        </p:nvSpPr>
        <p:spPr>
          <a:xfrm>
            <a:off x="327942" y="2844367"/>
            <a:ext cx="241455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ecara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erukur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roaktif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,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cepat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anggap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adaptasi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erhadap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rubah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ituasi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eng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lakuk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rbaik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yang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kelanjut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nggunak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bagai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alternatif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cara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yang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beda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alam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nyelesaik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antang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kerja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guna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apat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mberikan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yanan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yang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emakin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aik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agi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internal dan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eksternal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1186D5-95D0-E55D-485E-E20CF6DEAEAB}"/>
              </a:ext>
            </a:extLst>
          </p:cNvPr>
          <p:cNvSpPr txBox="1"/>
          <p:nvPr userDrawn="1"/>
        </p:nvSpPr>
        <p:spPr>
          <a:xfrm>
            <a:off x="327942" y="2310140"/>
            <a:ext cx="2327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EE272E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LINCAH</a:t>
            </a:r>
          </a:p>
        </p:txBody>
      </p:sp>
    </p:spTree>
    <p:extLst>
      <p:ext uri="{BB962C8B-B14F-4D97-AF65-F5344CB8AC3E}">
        <p14:creationId xmlns:p14="http://schemas.microsoft.com/office/powerpoint/2010/main" val="37789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1_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159D1D2-AB0F-28B5-F280-5DEE22E0CCD1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025422" y="737384"/>
          <a:ext cx="5904089" cy="3834617"/>
        </p:xfrm>
        <a:graphic>
          <a:graphicData uri="http://schemas.openxmlformats.org/drawingml/2006/table">
            <a:tbl>
              <a:tblPr/>
              <a:tblGrid>
                <a:gridCol w="975923">
                  <a:extLst>
                    <a:ext uri="{9D8B030D-6E8A-4147-A177-3AD203B41FA5}">
                      <a16:colId xmlns:a16="http://schemas.microsoft.com/office/drawing/2014/main" val="389181004"/>
                    </a:ext>
                  </a:extLst>
                </a:gridCol>
                <a:gridCol w="1486299">
                  <a:extLst>
                    <a:ext uri="{9D8B030D-6E8A-4147-A177-3AD203B41FA5}">
                      <a16:colId xmlns:a16="http://schemas.microsoft.com/office/drawing/2014/main" val="1712190242"/>
                    </a:ext>
                  </a:extLst>
                </a:gridCol>
                <a:gridCol w="1759077">
                  <a:extLst>
                    <a:ext uri="{9D8B030D-6E8A-4147-A177-3AD203B41FA5}">
                      <a16:colId xmlns:a16="http://schemas.microsoft.com/office/drawing/2014/main" val="1012182211"/>
                    </a:ext>
                  </a:extLst>
                </a:gridCol>
                <a:gridCol w="1682790">
                  <a:extLst>
                    <a:ext uri="{9D8B030D-6E8A-4147-A177-3AD203B41FA5}">
                      <a16:colId xmlns:a16="http://schemas.microsoft.com/office/drawing/2014/main" val="3951246793"/>
                    </a:ext>
                  </a:extLst>
                </a:gridCol>
              </a:tblGrid>
              <a:tr h="28717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YWOR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JELASAN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’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N’T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534716"/>
                  </a:ext>
                </a:extLst>
              </a:tr>
              <a:tr h="862619"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MPATHY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pertimbang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du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andang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hususny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r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elum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ambi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utus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tindak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 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angu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unika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u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rah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ingkat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ngagement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elum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ula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atu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isiatif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akomodir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uruh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su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p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ing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p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d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fokus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tam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rganisa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299867"/>
                  </a:ext>
                </a:extLst>
              </a:tr>
              <a:tr h="674163"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SPONSIV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anggap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ep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p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sik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sponsif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ep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anggap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rt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yelesai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salah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tau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luh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utama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cepat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p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perhati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si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877927"/>
                  </a:ext>
                </a:extLst>
              </a:tr>
              <a:tr h="1124592"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OSPITABL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hasil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aik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asti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hw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dapat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galam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maki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interak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aryaw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/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layan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aku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ikir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1" i="1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nilai</a:t>
                      </a:r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1" i="1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mbah</a:t>
                      </a:r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yang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p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eri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ai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lan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SLA unit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masing-masing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aku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mbiar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had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ilaku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ungki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urang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nyaman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tau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785831"/>
                  </a:ext>
                </a:extLst>
              </a:tr>
              <a:tr h="886071"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OMMUNICATIV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komunika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fektif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fisie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lam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has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paham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oleh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agar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p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ayan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aga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gi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r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,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alu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wab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tanya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kai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layan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di mana pu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ad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guna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sum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p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klarifika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tas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ndi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53882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E93C210-DEBE-1F0F-7D4F-FCB68533DD0F}"/>
              </a:ext>
            </a:extLst>
          </p:cNvPr>
          <p:cNvSpPr txBox="1"/>
          <p:nvPr userDrawn="1"/>
        </p:nvSpPr>
        <p:spPr>
          <a:xfrm>
            <a:off x="452443" y="2762027"/>
            <a:ext cx="241455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ecara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roaktif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ncar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ahu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,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menuh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layan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kebutuh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,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aik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eksternal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aupu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interna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D" sz="1000" b="0" i="0" u="none" strike="noStrike" kern="0" cap="none" spc="0" normalizeH="0" baseline="0" noProof="0" dirty="0" err="1">
              <a:ln>
                <a:noFill/>
              </a:ln>
              <a:solidFill>
                <a:srgbClr val="212121">
                  <a:lumMod val="10000"/>
                </a:srgbClr>
              </a:solidFill>
              <a:effectLst/>
              <a:uLnTx/>
              <a:uFillTx/>
              <a:latin typeface="Poppins" pitchFamily="2" charset="77"/>
              <a:cs typeface="Poppins" pitchFamily="2" charset="77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A2AE3D3-5E1A-FE19-28DD-42E49F956C24}"/>
              </a:ext>
            </a:extLst>
          </p:cNvPr>
          <p:cNvSpPr txBox="1"/>
          <p:nvPr userDrawn="1"/>
        </p:nvSpPr>
        <p:spPr>
          <a:xfrm>
            <a:off x="452443" y="2227800"/>
            <a:ext cx="2327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EE272E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RAMA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3D94AA4-E704-742C-644B-F14225BFCFC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7575" t="20902" r="52257" b="55479"/>
          <a:stretch>
            <a:fillRect/>
          </a:stretch>
        </p:blipFill>
        <p:spPr>
          <a:xfrm>
            <a:off x="849654" y="846002"/>
            <a:ext cx="1108954" cy="1448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477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1_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9D47CD6-778D-4C4D-FC83-8FC5D39EF20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25179785"/>
              </p:ext>
            </p:extLst>
          </p:nvPr>
        </p:nvGraphicFramePr>
        <p:xfrm>
          <a:off x="3025422" y="737384"/>
          <a:ext cx="5904089" cy="4099306"/>
        </p:xfrm>
        <a:graphic>
          <a:graphicData uri="http://schemas.openxmlformats.org/drawingml/2006/table">
            <a:tbl>
              <a:tblPr/>
              <a:tblGrid>
                <a:gridCol w="975923">
                  <a:extLst>
                    <a:ext uri="{9D8B030D-6E8A-4147-A177-3AD203B41FA5}">
                      <a16:colId xmlns:a16="http://schemas.microsoft.com/office/drawing/2014/main" val="389181004"/>
                    </a:ext>
                  </a:extLst>
                </a:gridCol>
                <a:gridCol w="1486299">
                  <a:extLst>
                    <a:ext uri="{9D8B030D-6E8A-4147-A177-3AD203B41FA5}">
                      <a16:colId xmlns:a16="http://schemas.microsoft.com/office/drawing/2014/main" val="1712190242"/>
                    </a:ext>
                  </a:extLst>
                </a:gridCol>
                <a:gridCol w="1759077">
                  <a:extLst>
                    <a:ext uri="{9D8B030D-6E8A-4147-A177-3AD203B41FA5}">
                      <a16:colId xmlns:a16="http://schemas.microsoft.com/office/drawing/2014/main" val="1012182211"/>
                    </a:ext>
                  </a:extLst>
                </a:gridCol>
                <a:gridCol w="1682790">
                  <a:extLst>
                    <a:ext uri="{9D8B030D-6E8A-4147-A177-3AD203B41FA5}">
                      <a16:colId xmlns:a16="http://schemas.microsoft.com/office/drawing/2014/main" val="3951246793"/>
                    </a:ext>
                  </a:extLst>
                </a:gridCol>
              </a:tblGrid>
              <a:tr h="2647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YWOR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JELASAN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’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N’T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534716"/>
                  </a:ext>
                </a:extLst>
              </a:tr>
              <a:tr h="795376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OMMITTE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nsiste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komitme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yelesa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ggu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jawab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 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yelesa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su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waktu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sepakat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aba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itme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me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fleksibi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adapt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299867"/>
                  </a:ext>
                </a:extLst>
              </a:tr>
              <a:tr h="1011744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OMPETENT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ingk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peten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kai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dust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ransport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ubl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wujud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ag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enter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of excellence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ingk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peten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ribad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kai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ida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u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p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juga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ta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lajar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ida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lev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rganis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877927"/>
                  </a:ext>
                </a:extLst>
              </a:tr>
              <a:tr h="1036927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OLUTION ORIENTE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unjuk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ik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foku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pad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capai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si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kua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dampa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anfa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knolog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mber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d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hadap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sala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ca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anfa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lternatif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mber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u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dap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olu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u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elu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yelesa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su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heck list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pa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perhitungkan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sesuaian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mpaknya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harapkan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  <a:endParaRPr lang="en-ID" sz="9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785831"/>
                  </a:ext>
                </a:extLst>
              </a:tr>
              <a:tr h="817000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CCOUNTABL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uk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had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mp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l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ingk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si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optimal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ca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mp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l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ingkat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layan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g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hinda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tanggu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jawab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hasil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538823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8387A03-F5AF-52DE-76C3-90116A64B5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10371" t="53568" r="79461" b="22813"/>
          <a:stretch>
            <a:fillRect/>
          </a:stretch>
        </p:blipFill>
        <p:spPr>
          <a:xfrm>
            <a:off x="922244" y="737384"/>
            <a:ext cx="1108954" cy="144891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77170B3-71C7-61BA-B8C8-A3C01744DD10}"/>
              </a:ext>
            </a:extLst>
          </p:cNvPr>
          <p:cNvSpPr txBox="1"/>
          <p:nvPr userDrawn="1"/>
        </p:nvSpPr>
        <p:spPr>
          <a:xfrm>
            <a:off x="294133" y="2632296"/>
            <a:ext cx="241455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lakuk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uatu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kerja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/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ugas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ecara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tanggungjawab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erta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ilandas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atas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ngetahu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yang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ndalam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i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idangnya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mberik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hasil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yang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dampak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apat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iandalka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oleh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internal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aupu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eksternal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D" sz="1000" b="0" i="0" u="none" strike="noStrike" kern="0" cap="none" spc="0" normalizeH="0" baseline="0" noProof="0" dirty="0" err="1">
              <a:ln>
                <a:noFill/>
              </a:ln>
              <a:solidFill>
                <a:srgbClr val="212121">
                  <a:lumMod val="10000"/>
                </a:srgbClr>
              </a:solidFill>
              <a:effectLst/>
              <a:uLnTx/>
              <a:uFillTx/>
              <a:latin typeface="Poppins" pitchFamily="2" charset="77"/>
              <a:cs typeface="Poppins" pitchFamily="2" charset="77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233930-1699-15F6-327C-D7CDDA0C76A6}"/>
              </a:ext>
            </a:extLst>
          </p:cNvPr>
          <p:cNvSpPr txBox="1"/>
          <p:nvPr userDrawn="1"/>
        </p:nvSpPr>
        <p:spPr>
          <a:xfrm>
            <a:off x="294133" y="2165190"/>
            <a:ext cx="25845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EE272E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TERPERCAYA</a:t>
            </a:r>
          </a:p>
        </p:txBody>
      </p:sp>
    </p:spTree>
    <p:extLst>
      <p:ext uri="{BB962C8B-B14F-4D97-AF65-F5344CB8AC3E}">
        <p14:creationId xmlns:p14="http://schemas.microsoft.com/office/powerpoint/2010/main" val="1956874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1_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F1323A1-38E7-0625-87EF-221A3DE5D65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575285313"/>
              </p:ext>
            </p:extLst>
          </p:nvPr>
        </p:nvGraphicFramePr>
        <p:xfrm>
          <a:off x="3025422" y="737384"/>
          <a:ext cx="5904089" cy="4233697"/>
        </p:xfrm>
        <a:graphic>
          <a:graphicData uri="http://schemas.openxmlformats.org/drawingml/2006/table">
            <a:tbl>
              <a:tblPr/>
              <a:tblGrid>
                <a:gridCol w="975923">
                  <a:extLst>
                    <a:ext uri="{9D8B030D-6E8A-4147-A177-3AD203B41FA5}">
                      <a16:colId xmlns:a16="http://schemas.microsoft.com/office/drawing/2014/main" val="389181004"/>
                    </a:ext>
                  </a:extLst>
                </a:gridCol>
                <a:gridCol w="1486299">
                  <a:extLst>
                    <a:ext uri="{9D8B030D-6E8A-4147-A177-3AD203B41FA5}">
                      <a16:colId xmlns:a16="http://schemas.microsoft.com/office/drawing/2014/main" val="1712190242"/>
                    </a:ext>
                  </a:extLst>
                </a:gridCol>
                <a:gridCol w="1759077">
                  <a:extLst>
                    <a:ext uri="{9D8B030D-6E8A-4147-A177-3AD203B41FA5}">
                      <a16:colId xmlns:a16="http://schemas.microsoft.com/office/drawing/2014/main" val="1012182211"/>
                    </a:ext>
                  </a:extLst>
                </a:gridCol>
                <a:gridCol w="1682790">
                  <a:extLst>
                    <a:ext uri="{9D8B030D-6E8A-4147-A177-3AD203B41FA5}">
                      <a16:colId xmlns:a16="http://schemas.microsoft.com/office/drawing/2014/main" val="3951246793"/>
                    </a:ext>
                  </a:extLst>
                </a:gridCol>
              </a:tblGrid>
              <a:tr h="2647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YWOR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JELASAN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’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N’T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534716"/>
                  </a:ext>
                </a:extLst>
              </a:tr>
              <a:tr h="795376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RUSTE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enuh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itme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da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ua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ilik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selara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nt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kat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Tindak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lam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ayan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lan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itme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foku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pad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nyaman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ndi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h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mp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ampau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l-h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d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wenangannya</a:t>
                      </a:r>
                      <a:endParaRPr lang="en-ID" sz="9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299867"/>
                  </a:ext>
                </a:extLst>
              </a:tr>
              <a:tr h="1011744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RANSPARANT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edepan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ransparan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lam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gal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spe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proses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isiko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upu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unik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komunikas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siko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ungki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uncu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uk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ad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next process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hingg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pa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tentu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angkah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itigasin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ola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mp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l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uk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ingkat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Bersama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877927"/>
                  </a:ext>
                </a:extLst>
              </a:tr>
              <a:tr h="1036927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OMPLI-ANC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pega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gu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ad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GCG, ESG, ta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nil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de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t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usah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lan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GCG dan ES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rt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d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ta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nil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de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t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Perusaha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ag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dikator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tam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gambil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utu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professional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utup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r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laku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oleh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aren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timba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l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785831"/>
                  </a:ext>
                </a:extLst>
              </a:tr>
              <a:tr h="817000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QUITY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interak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di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uru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iha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upu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pertimbang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sah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da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 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presi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sempat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su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sah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da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oleh orang lai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lam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sik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ida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di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ad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rganis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aba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sempat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unjuk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oten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iner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a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milik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538823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E67F7EC-014F-35AB-5C04-7F10B3B1192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8035" t="53214" r="51797" b="23167"/>
          <a:stretch>
            <a:fillRect/>
          </a:stretch>
        </p:blipFill>
        <p:spPr>
          <a:xfrm>
            <a:off x="797194" y="737384"/>
            <a:ext cx="1108954" cy="14489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012E22D-B076-35D1-7263-AA8380793671}"/>
              </a:ext>
            </a:extLst>
          </p:cNvPr>
          <p:cNvSpPr txBox="1"/>
          <p:nvPr userDrawn="1"/>
        </p:nvSpPr>
        <p:spPr>
          <a:xfrm>
            <a:off x="349242" y="2653409"/>
            <a:ext cx="241455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tindak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konsiste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eng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nila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moral,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nila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rusaha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,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kode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etik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, dan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hat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Nurani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eng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intens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negakk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kebenar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alam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layani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internal dan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eksternal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D" sz="1000" b="0" i="0" u="none" strike="noStrike" kern="0" cap="none" spc="0" normalizeH="0" baseline="0" noProof="0" dirty="0" err="1">
              <a:ln>
                <a:noFill/>
              </a:ln>
              <a:solidFill>
                <a:srgbClr val="212121">
                  <a:lumMod val="10000"/>
                </a:srgbClr>
              </a:solidFill>
              <a:effectLst/>
              <a:uLnTx/>
              <a:uFillTx/>
              <a:latin typeface="Poppins" pitchFamily="2" charset="77"/>
              <a:cs typeface="Poppins" pitchFamily="2" charset="77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4AD98F-97D2-40DA-0C51-E2237CF5AF18}"/>
              </a:ext>
            </a:extLst>
          </p:cNvPr>
          <p:cNvSpPr txBox="1"/>
          <p:nvPr userDrawn="1"/>
        </p:nvSpPr>
        <p:spPr>
          <a:xfrm>
            <a:off x="349242" y="2186303"/>
            <a:ext cx="25845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EE272E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JUJUR</a:t>
            </a:r>
          </a:p>
        </p:txBody>
      </p:sp>
    </p:spTree>
    <p:extLst>
      <p:ext uri="{BB962C8B-B14F-4D97-AF65-F5344CB8AC3E}">
        <p14:creationId xmlns:p14="http://schemas.microsoft.com/office/powerpoint/2010/main" val="190814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1_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</p:spTree>
    <p:extLst>
      <p:ext uri="{BB962C8B-B14F-4D97-AF65-F5344CB8AC3E}">
        <p14:creationId xmlns:p14="http://schemas.microsoft.com/office/powerpoint/2010/main" val="3258973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1_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  <p:grpSp>
        <p:nvGrpSpPr>
          <p:cNvPr id="3" name="Google Shape;599;p10">
            <a:extLst>
              <a:ext uri="{FF2B5EF4-FFF2-40B4-BE49-F238E27FC236}">
                <a16:creationId xmlns:a16="http://schemas.microsoft.com/office/drawing/2014/main" id="{BC860CB0-2C18-985D-D4E4-A4171108E874}"/>
              </a:ext>
            </a:extLst>
          </p:cNvPr>
          <p:cNvGrpSpPr/>
          <p:nvPr userDrawn="1"/>
        </p:nvGrpSpPr>
        <p:grpSpPr>
          <a:xfrm>
            <a:off x="893473" y="844262"/>
            <a:ext cx="7360256" cy="3678611"/>
            <a:chOff x="1234074" y="1179467"/>
            <a:chExt cx="4833284" cy="2249533"/>
          </a:xfrm>
        </p:grpSpPr>
        <p:sp>
          <p:nvSpPr>
            <p:cNvPr id="6" name="Google Shape;600;p10">
              <a:extLst>
                <a:ext uri="{FF2B5EF4-FFF2-40B4-BE49-F238E27FC236}">
                  <a16:creationId xmlns:a16="http://schemas.microsoft.com/office/drawing/2014/main" id="{D5DFFEDD-545C-399A-DB8D-0F760420DE1F}"/>
                </a:ext>
              </a:extLst>
            </p:cNvPr>
            <p:cNvSpPr txBox="1"/>
            <p:nvPr/>
          </p:nvSpPr>
          <p:spPr>
            <a:xfrm>
              <a:off x="1234074" y="1179467"/>
              <a:ext cx="3049008" cy="2790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6363" tIns="26363" rIns="26363" bIns="26363" anchor="t" anchorCtr="0">
              <a:noAutofit/>
            </a:bodyPr>
            <a:lstStyle/>
            <a:p>
              <a:pPr defTabSz="685800">
                <a:buClr>
                  <a:srgbClr val="C00000"/>
                </a:buClr>
                <a:buSzPts val="4000"/>
                <a:defRPr/>
              </a:pPr>
              <a:r>
                <a:rPr lang="en-US" sz="2400" dirty="0">
                  <a:solidFill>
                    <a:srgbClr val="ED4B48"/>
                  </a:solidFill>
                  <a:latin typeface="Anton" pitchFamily="2" charset="77"/>
                  <a:ea typeface="Libre Franklin Medium"/>
                  <a:cs typeface="Libre Franklin Medium"/>
                  <a:sym typeface="Libre Franklin Medium"/>
                </a:rPr>
                <a:t>5 REAKSI UMUM </a:t>
              </a:r>
              <a:br>
                <a:rPr lang="en-US" sz="2400" dirty="0">
                  <a:solidFill>
                    <a:srgbClr val="ED4B48"/>
                  </a:solidFill>
                  <a:latin typeface="Anton" pitchFamily="2" charset="77"/>
                  <a:ea typeface="Libre Franklin Medium"/>
                  <a:cs typeface="Libre Franklin Medium"/>
                  <a:sym typeface="Libre Franklin Medium"/>
                </a:rPr>
              </a:br>
              <a:r>
                <a:rPr lang="en-US" sz="2400" dirty="0">
                  <a:solidFill>
                    <a:srgbClr val="ED4B48"/>
                  </a:solidFill>
                  <a:latin typeface="Anton" pitchFamily="2" charset="77"/>
                  <a:ea typeface="Libre Franklin Medium"/>
                  <a:cs typeface="Libre Franklin Medium"/>
                  <a:sym typeface="Libre Franklin Medium"/>
                </a:rPr>
                <a:t>TERHADAP PERUBAHAN </a:t>
              </a:r>
              <a:endParaRPr lang="en-US" sz="825" dirty="0">
                <a:solidFill>
                  <a:srgbClr val="ED4B48"/>
                </a:solidFill>
                <a:latin typeface="Anton" pitchFamily="2" charset="77"/>
              </a:endParaRPr>
            </a:p>
          </p:txBody>
        </p:sp>
        <p:pic>
          <p:nvPicPr>
            <p:cNvPr id="7" name="Google Shape;601;p10" descr="Reaction - Free social media icons">
              <a:extLst>
                <a:ext uri="{FF2B5EF4-FFF2-40B4-BE49-F238E27FC236}">
                  <a16:creationId xmlns:a16="http://schemas.microsoft.com/office/drawing/2014/main" id="{7D003493-DA10-0A6C-9653-CAA674A4C6A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982982" y="1633303"/>
              <a:ext cx="1084376" cy="108437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" name="Google Shape;602;p10">
              <a:extLst>
                <a:ext uri="{FF2B5EF4-FFF2-40B4-BE49-F238E27FC236}">
                  <a16:creationId xmlns:a16="http://schemas.microsoft.com/office/drawing/2014/main" id="{256D1D3E-7773-7987-7EF9-95BC8AFFA750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404430" y="1656806"/>
              <a:ext cx="360156" cy="177219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" name="Google Shape;603;p10">
              <a:extLst>
                <a:ext uri="{FF2B5EF4-FFF2-40B4-BE49-F238E27FC236}">
                  <a16:creationId xmlns:a16="http://schemas.microsoft.com/office/drawing/2014/main" id="{4FB32169-C6CA-D0D9-A8AA-4C98D78A9C32}"/>
                </a:ext>
              </a:extLst>
            </p:cNvPr>
            <p:cNvSpPr txBox="1"/>
            <p:nvPr/>
          </p:nvSpPr>
          <p:spPr>
            <a:xfrm>
              <a:off x="1797969" y="1764106"/>
              <a:ext cx="2000525" cy="159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831" tIns="14831" rIns="14831" bIns="14831" anchor="ctr" anchorCtr="0">
              <a:spAutoFit/>
            </a:bodyPr>
            <a:lstStyle/>
            <a:p>
              <a:pPr defTabSz="685800">
                <a:defRPr/>
              </a:pPr>
              <a:r>
                <a:rPr lang="en-US" sz="1500" b="1" dirty="0">
                  <a:solidFill>
                    <a:srgbClr val="00517F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Move</a:t>
              </a:r>
              <a:r>
                <a:rPr lang="en-US" sz="1500" b="1" dirty="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– </a:t>
              </a:r>
              <a:r>
                <a:rPr lang="en-US" sz="1500" dirty="0" err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Segera</a:t>
              </a:r>
              <a:r>
                <a:rPr lang="en-US" sz="1500" dirty="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</a:t>
              </a:r>
              <a:r>
                <a:rPr lang="en-US" sz="1500" dirty="0" err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ikut</a:t>
              </a:r>
              <a:r>
                <a:rPr lang="en-US" sz="1500" dirty="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</a:t>
              </a:r>
              <a:r>
                <a:rPr lang="en-US" sz="1500" dirty="0" err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berubah</a:t>
              </a:r>
              <a:endParaRPr sz="1500" b="1" dirty="0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0" name="Google Shape;604;p10">
              <a:extLst>
                <a:ext uri="{FF2B5EF4-FFF2-40B4-BE49-F238E27FC236}">
                  <a16:creationId xmlns:a16="http://schemas.microsoft.com/office/drawing/2014/main" id="{F99F4D8C-1844-D20E-B931-D1F04DE34423}"/>
                </a:ext>
              </a:extLst>
            </p:cNvPr>
            <p:cNvSpPr txBox="1"/>
            <p:nvPr/>
          </p:nvSpPr>
          <p:spPr>
            <a:xfrm>
              <a:off x="1797968" y="2115589"/>
              <a:ext cx="2571750" cy="159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831" tIns="14831" rIns="14831" bIns="14831" anchor="ctr" anchorCtr="0">
              <a:spAutoFit/>
            </a:bodyPr>
            <a:lstStyle/>
            <a:p>
              <a:pPr defTabSz="685800">
                <a:defRPr/>
              </a:pPr>
              <a:r>
                <a:rPr lang="en-US" sz="1500" b="1">
                  <a:solidFill>
                    <a:srgbClr val="00517F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Minimize</a:t>
              </a:r>
              <a:r>
                <a:rPr lang="en-US" sz="1500" b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– </a:t>
              </a:r>
              <a:r>
                <a:rPr lang="en-US" sz="150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Berubah tapi sedikit</a:t>
              </a:r>
              <a:endParaRPr sz="1500" b="1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1" name="Google Shape;605;p10">
              <a:extLst>
                <a:ext uri="{FF2B5EF4-FFF2-40B4-BE49-F238E27FC236}">
                  <a16:creationId xmlns:a16="http://schemas.microsoft.com/office/drawing/2014/main" id="{F9EDFEC3-077F-416D-0500-EECECB602FCC}"/>
                </a:ext>
              </a:extLst>
            </p:cNvPr>
            <p:cNvSpPr txBox="1"/>
            <p:nvPr/>
          </p:nvSpPr>
          <p:spPr>
            <a:xfrm>
              <a:off x="1797968" y="2392588"/>
              <a:ext cx="2571750" cy="3006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831" tIns="14831" rIns="14831" bIns="14831" anchor="ctr" anchorCtr="0">
              <a:spAutoFit/>
            </a:bodyPr>
            <a:lstStyle/>
            <a:p>
              <a:pPr defTabSz="685800">
                <a:defRPr/>
              </a:pPr>
              <a:r>
                <a:rPr lang="en-US" sz="1500" b="1">
                  <a:solidFill>
                    <a:srgbClr val="00517F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Wait</a:t>
              </a:r>
              <a:r>
                <a:rPr lang="en-US" sz="1500" b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– </a:t>
              </a:r>
              <a:r>
                <a:rPr lang="en-US" sz="150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Tidak melakukan apa-apa sampai orang lain berubah</a:t>
              </a:r>
              <a:endParaRPr sz="1500" b="1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2" name="Google Shape;606;p10">
              <a:extLst>
                <a:ext uri="{FF2B5EF4-FFF2-40B4-BE49-F238E27FC236}">
                  <a16:creationId xmlns:a16="http://schemas.microsoft.com/office/drawing/2014/main" id="{B16A0AB5-8993-7C47-CA01-7A728BAE154C}"/>
                </a:ext>
              </a:extLst>
            </p:cNvPr>
            <p:cNvSpPr txBox="1"/>
            <p:nvPr/>
          </p:nvSpPr>
          <p:spPr>
            <a:xfrm>
              <a:off x="1797968" y="2777111"/>
              <a:ext cx="2571750" cy="3006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831" tIns="14831" rIns="14831" bIns="14831" anchor="ctr" anchorCtr="0">
              <a:spAutoFit/>
            </a:bodyPr>
            <a:lstStyle/>
            <a:p>
              <a:pPr defTabSz="685800">
                <a:defRPr/>
              </a:pPr>
              <a:r>
                <a:rPr lang="en-US" sz="1500" b="1">
                  <a:solidFill>
                    <a:srgbClr val="00517F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Resist</a:t>
              </a:r>
              <a:r>
                <a:rPr lang="en-US" sz="1500" b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– </a:t>
              </a:r>
              <a:r>
                <a:rPr lang="en-US" sz="150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Tidak suka pada perubahan dan mengajak orang untuk ikut melawannya</a:t>
              </a:r>
              <a:endParaRPr sz="1500" b="1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3" name="Google Shape;607;p10">
              <a:extLst>
                <a:ext uri="{FF2B5EF4-FFF2-40B4-BE49-F238E27FC236}">
                  <a16:creationId xmlns:a16="http://schemas.microsoft.com/office/drawing/2014/main" id="{4A7DAC41-96F3-DDEC-9C37-2B4CEE8F15E7}"/>
                </a:ext>
              </a:extLst>
            </p:cNvPr>
            <p:cNvSpPr txBox="1"/>
            <p:nvPr/>
          </p:nvSpPr>
          <p:spPr>
            <a:xfrm>
              <a:off x="1797969" y="3160296"/>
              <a:ext cx="3185013" cy="159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831" tIns="14831" rIns="14831" bIns="14831" anchor="ctr" anchorCtr="0">
              <a:spAutoFit/>
            </a:bodyPr>
            <a:lstStyle/>
            <a:p>
              <a:pPr defTabSz="685800">
                <a:defRPr/>
              </a:pPr>
              <a:r>
                <a:rPr lang="en-US" sz="1500" b="1">
                  <a:solidFill>
                    <a:srgbClr val="00517F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Quit </a:t>
              </a:r>
              <a:r>
                <a:rPr lang="en-US" sz="1500" b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– </a:t>
              </a:r>
              <a:r>
                <a:rPr lang="en-US" sz="150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Pergi atau tetap tinggal namun tidak </a:t>
              </a:r>
              <a:r>
                <a:rPr lang="en-US" sz="1500" i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engage</a:t>
              </a:r>
              <a:endParaRPr sz="1500" b="1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765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883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6" name="Google Shape;36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4615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1" name="Google Shape;41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2" name="Google Shape;42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835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5" name="Google Shape;45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747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/Section Divider 7" preserve="1" userDrawn="1">
  <p:cSld name="1_Quote/Section Divider 7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E5E59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4702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8" name="Google Shape;48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9" name="Google Shape;49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0177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/Section Divider 7" preserve="1" userDrawn="1">
  <p:cSld name="Quote/Section Divider 7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E5E59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514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/Section Divider 7" preserve="1" userDrawn="1">
  <p:cSld name="1_Quote/Section Divider 7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0403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/Section Divider 7" preserve="1" userDrawn="1">
  <p:cSld name="1_Quote/Section Divider 7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A90104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0542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/Section Divider 7" preserve="1">
  <p:cSld name="1_Quote/Section Divider 7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54;p13"/>
          <p:cNvSpPr txBox="1">
            <a:spLocks noGrp="1"/>
          </p:cNvSpPr>
          <p:nvPr>
            <p:ph type="sldNum" idx="12"/>
          </p:nvPr>
        </p:nvSpPr>
        <p:spPr>
          <a:xfrm>
            <a:off x="8343900" y="4800600"/>
            <a:ext cx="3429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5" name="Google Shape;55;p13"/>
          <p:cNvSpPr txBox="1">
            <a:spLocks noGrp="1"/>
          </p:cNvSpPr>
          <p:nvPr>
            <p:ph type="title"/>
          </p:nvPr>
        </p:nvSpPr>
        <p:spPr>
          <a:xfrm>
            <a:off x="457200" y="371476"/>
            <a:ext cx="8229600" cy="402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Font typeface="Arial"/>
              <a:buNone/>
              <a:defRPr sz="3600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3"/>
          <p:cNvSpPr txBox="1"/>
          <p:nvPr/>
        </p:nvSpPr>
        <p:spPr>
          <a:xfrm>
            <a:off x="5626973" y="4767376"/>
            <a:ext cx="3086100" cy="1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-GB" sz="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© FranklinCovey Co. All rights reserved. PROPRIETARY AND CONFIDENTIAL </a:t>
            </a:r>
            <a:endParaRPr sz="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7" name="Google Shape;57;p13" descr="A picture containing text, clipar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7200" y="4804812"/>
            <a:ext cx="742952" cy="1100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049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oter only">
  <p:cSld name="Title and footer only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2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6" name="Google Shape;46;p12"/>
          <p:cNvSpPr/>
          <p:nvPr/>
        </p:nvSpPr>
        <p:spPr>
          <a:xfrm>
            <a:off x="1" y="0"/>
            <a:ext cx="9143999" cy="139304"/>
          </a:xfrm>
          <a:prstGeom prst="rect">
            <a:avLst/>
          </a:prstGeom>
          <a:gradFill>
            <a:gsLst>
              <a:gs pos="0">
                <a:schemeClr val="accent1"/>
              </a:gs>
              <a:gs pos="3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47;p12"/>
          <p:cNvSpPr/>
          <p:nvPr/>
        </p:nvSpPr>
        <p:spPr>
          <a:xfrm>
            <a:off x="0" y="371475"/>
            <a:ext cx="75438" cy="571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48;p12"/>
          <p:cNvSpPr txBox="1">
            <a:spLocks noGrp="1"/>
          </p:cNvSpPr>
          <p:nvPr>
            <p:ph type="title"/>
          </p:nvPr>
        </p:nvSpPr>
        <p:spPr>
          <a:xfrm>
            <a:off x="457200" y="379179"/>
            <a:ext cx="82296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700" b="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812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792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421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&amp; Bullets">
  <p:cSld name="1_Title &amp; Bullets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67"/>
          <p:cNvSpPr txBox="1">
            <a:spLocks noGrp="1"/>
          </p:cNvSpPr>
          <p:nvPr>
            <p:ph type="title"/>
          </p:nvPr>
        </p:nvSpPr>
        <p:spPr>
          <a:xfrm>
            <a:off x="228600" y="137319"/>
            <a:ext cx="41148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67"/>
          <p:cNvSpPr txBox="1">
            <a:spLocks noGrp="1"/>
          </p:cNvSpPr>
          <p:nvPr>
            <p:ph type="body" idx="1"/>
          </p:nvPr>
        </p:nvSpPr>
        <p:spPr>
          <a:xfrm>
            <a:off x="452438" y="889861"/>
            <a:ext cx="8239125" cy="350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342900" lvl="0" indent="-171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750"/>
              <a:buNone/>
              <a:defRPr sz="2063" b="1"/>
            </a:lvl1pPr>
            <a:lvl2pPr marL="685800" lvl="1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67"/>
          <p:cNvSpPr txBox="1">
            <a:spLocks noGrp="1"/>
          </p:cNvSpPr>
          <p:nvPr>
            <p:ph type="body" idx="2"/>
          </p:nvPr>
        </p:nvSpPr>
        <p:spPr>
          <a:xfrm>
            <a:off x="228600" y="800100"/>
            <a:ext cx="4114800" cy="2262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67"/>
          <p:cNvSpPr txBox="1">
            <a:spLocks noGrp="1"/>
          </p:cNvSpPr>
          <p:nvPr>
            <p:ph type="sldNum" idx="12"/>
          </p:nvPr>
        </p:nvSpPr>
        <p:spPr>
          <a:xfrm>
            <a:off x="3276600" y="3178176"/>
            <a:ext cx="1066800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24435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6"/>
          <p:cNvSpPr txBox="1">
            <a:spLocks noGrp="1"/>
          </p:cNvSpPr>
          <p:nvPr>
            <p:ph type="title"/>
          </p:nvPr>
        </p:nvSpPr>
        <p:spPr>
          <a:xfrm>
            <a:off x="228600" y="137319"/>
            <a:ext cx="41148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6"/>
          <p:cNvSpPr txBox="1">
            <a:spLocks noGrp="1"/>
          </p:cNvSpPr>
          <p:nvPr>
            <p:ph type="body" idx="1"/>
          </p:nvPr>
        </p:nvSpPr>
        <p:spPr>
          <a:xfrm>
            <a:off x="228600" y="800100"/>
            <a:ext cx="4114800" cy="2262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66"/>
          <p:cNvSpPr txBox="1">
            <a:spLocks noGrp="1"/>
          </p:cNvSpPr>
          <p:nvPr>
            <p:ph type="dt" idx="10"/>
          </p:nvPr>
        </p:nvSpPr>
        <p:spPr>
          <a:xfrm>
            <a:off x="228600" y="3178176"/>
            <a:ext cx="1066800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66"/>
          <p:cNvSpPr txBox="1">
            <a:spLocks noGrp="1"/>
          </p:cNvSpPr>
          <p:nvPr>
            <p:ph type="ftr" idx="11"/>
          </p:nvPr>
        </p:nvSpPr>
        <p:spPr>
          <a:xfrm>
            <a:off x="1562100" y="3178176"/>
            <a:ext cx="1447800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66"/>
          <p:cNvSpPr txBox="1">
            <a:spLocks noGrp="1"/>
          </p:cNvSpPr>
          <p:nvPr>
            <p:ph type="sldNum" idx="12"/>
          </p:nvPr>
        </p:nvSpPr>
        <p:spPr>
          <a:xfrm>
            <a:off x="3276600" y="3178176"/>
            <a:ext cx="1066800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8218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/Section Divider 7" preserve="1" userDrawn="1">
  <p:cSld name="1_Quote/Section Divider 7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05833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/Section Divider 7" preserve="1" userDrawn="1">
  <p:cSld name="1_Quote/Section Divider 7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A90104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34502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/Section Divider 7" preserve="1">
  <p:cSld name="1_Quote/Section Divider 7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54;p13"/>
          <p:cNvSpPr txBox="1">
            <a:spLocks noGrp="1"/>
          </p:cNvSpPr>
          <p:nvPr>
            <p:ph type="sldNum" idx="12"/>
          </p:nvPr>
        </p:nvSpPr>
        <p:spPr>
          <a:xfrm>
            <a:off x="8343900" y="4800600"/>
            <a:ext cx="3429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5" name="Google Shape;55;p13"/>
          <p:cNvSpPr txBox="1">
            <a:spLocks noGrp="1"/>
          </p:cNvSpPr>
          <p:nvPr>
            <p:ph type="title"/>
          </p:nvPr>
        </p:nvSpPr>
        <p:spPr>
          <a:xfrm>
            <a:off x="457200" y="371476"/>
            <a:ext cx="8229600" cy="402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Font typeface="Arial"/>
              <a:buNone/>
              <a:defRPr sz="3600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3"/>
          <p:cNvSpPr txBox="1"/>
          <p:nvPr/>
        </p:nvSpPr>
        <p:spPr>
          <a:xfrm>
            <a:off x="5626973" y="4767376"/>
            <a:ext cx="3086100" cy="1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-GB" sz="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© FranklinCovey Co. All rights reserved. PROPRIETARY AND CONFIDENTIAL </a:t>
            </a:r>
            <a:endParaRPr sz="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7" name="Google Shape;57;p13" descr="A picture containing text, clipar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7200" y="4804812"/>
            <a:ext cx="742952" cy="1100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5993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oter only">
  <p:cSld name="Title and footer only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2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6" name="Google Shape;46;p12"/>
          <p:cNvSpPr/>
          <p:nvPr/>
        </p:nvSpPr>
        <p:spPr>
          <a:xfrm>
            <a:off x="1" y="0"/>
            <a:ext cx="9143999" cy="139304"/>
          </a:xfrm>
          <a:prstGeom prst="rect">
            <a:avLst/>
          </a:prstGeom>
          <a:gradFill>
            <a:gsLst>
              <a:gs pos="0">
                <a:schemeClr val="accent1"/>
              </a:gs>
              <a:gs pos="3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47;p12"/>
          <p:cNvSpPr/>
          <p:nvPr/>
        </p:nvSpPr>
        <p:spPr>
          <a:xfrm>
            <a:off x="0" y="371475"/>
            <a:ext cx="75438" cy="571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48;p12"/>
          <p:cNvSpPr txBox="1">
            <a:spLocks noGrp="1"/>
          </p:cNvSpPr>
          <p:nvPr>
            <p:ph type="title"/>
          </p:nvPr>
        </p:nvSpPr>
        <p:spPr>
          <a:xfrm>
            <a:off x="457200" y="379179"/>
            <a:ext cx="82296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700" b="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62261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792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&amp; Bullets">
  <p:cSld name="1_Title &amp; Bullets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67"/>
          <p:cNvSpPr txBox="1">
            <a:spLocks noGrp="1"/>
          </p:cNvSpPr>
          <p:nvPr>
            <p:ph type="title"/>
          </p:nvPr>
        </p:nvSpPr>
        <p:spPr>
          <a:xfrm>
            <a:off x="228600" y="137319"/>
            <a:ext cx="41148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67"/>
          <p:cNvSpPr txBox="1">
            <a:spLocks noGrp="1"/>
          </p:cNvSpPr>
          <p:nvPr>
            <p:ph type="body" idx="1"/>
          </p:nvPr>
        </p:nvSpPr>
        <p:spPr>
          <a:xfrm>
            <a:off x="452438" y="889861"/>
            <a:ext cx="8239125" cy="350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342900" lvl="0" indent="-171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750"/>
              <a:buNone/>
              <a:defRPr sz="2063" b="1"/>
            </a:lvl1pPr>
            <a:lvl2pPr marL="685800" lvl="1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67"/>
          <p:cNvSpPr txBox="1">
            <a:spLocks noGrp="1"/>
          </p:cNvSpPr>
          <p:nvPr>
            <p:ph type="body" idx="2"/>
          </p:nvPr>
        </p:nvSpPr>
        <p:spPr>
          <a:xfrm>
            <a:off x="228600" y="800100"/>
            <a:ext cx="4114800" cy="2262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67"/>
          <p:cNvSpPr txBox="1">
            <a:spLocks noGrp="1"/>
          </p:cNvSpPr>
          <p:nvPr>
            <p:ph type="sldNum" idx="12"/>
          </p:nvPr>
        </p:nvSpPr>
        <p:spPr>
          <a:xfrm>
            <a:off x="3276600" y="3178176"/>
            <a:ext cx="1066800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 sz="60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1994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6"/>
          <p:cNvSpPr txBox="1">
            <a:spLocks noGrp="1"/>
          </p:cNvSpPr>
          <p:nvPr>
            <p:ph type="title"/>
          </p:nvPr>
        </p:nvSpPr>
        <p:spPr>
          <a:xfrm>
            <a:off x="228600" y="137319"/>
            <a:ext cx="41148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6"/>
          <p:cNvSpPr txBox="1">
            <a:spLocks noGrp="1"/>
          </p:cNvSpPr>
          <p:nvPr>
            <p:ph type="body" idx="1"/>
          </p:nvPr>
        </p:nvSpPr>
        <p:spPr>
          <a:xfrm>
            <a:off x="228600" y="800100"/>
            <a:ext cx="4114800" cy="2262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66"/>
          <p:cNvSpPr txBox="1">
            <a:spLocks noGrp="1"/>
          </p:cNvSpPr>
          <p:nvPr>
            <p:ph type="dt" idx="10"/>
          </p:nvPr>
        </p:nvSpPr>
        <p:spPr>
          <a:xfrm>
            <a:off x="228600" y="3178176"/>
            <a:ext cx="1066800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66"/>
          <p:cNvSpPr txBox="1">
            <a:spLocks noGrp="1"/>
          </p:cNvSpPr>
          <p:nvPr>
            <p:ph type="ftr" idx="11"/>
          </p:nvPr>
        </p:nvSpPr>
        <p:spPr>
          <a:xfrm>
            <a:off x="1562100" y="3178176"/>
            <a:ext cx="1447800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66"/>
          <p:cNvSpPr txBox="1">
            <a:spLocks noGrp="1"/>
          </p:cNvSpPr>
          <p:nvPr>
            <p:ph type="sldNum" idx="12"/>
          </p:nvPr>
        </p:nvSpPr>
        <p:spPr>
          <a:xfrm>
            <a:off x="3276600" y="3178176"/>
            <a:ext cx="1066800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6319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2B92B82-54BA-68BA-72F7-624A4A4F690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38478866"/>
              </p:ext>
            </p:extLst>
          </p:nvPr>
        </p:nvGraphicFramePr>
        <p:xfrm>
          <a:off x="3025422" y="737384"/>
          <a:ext cx="5904089" cy="3907214"/>
        </p:xfrm>
        <a:graphic>
          <a:graphicData uri="http://schemas.openxmlformats.org/drawingml/2006/table">
            <a:tbl>
              <a:tblPr/>
              <a:tblGrid>
                <a:gridCol w="975923">
                  <a:extLst>
                    <a:ext uri="{9D8B030D-6E8A-4147-A177-3AD203B41FA5}">
                      <a16:colId xmlns:a16="http://schemas.microsoft.com/office/drawing/2014/main" val="389181004"/>
                    </a:ext>
                  </a:extLst>
                </a:gridCol>
                <a:gridCol w="1486299">
                  <a:extLst>
                    <a:ext uri="{9D8B030D-6E8A-4147-A177-3AD203B41FA5}">
                      <a16:colId xmlns:a16="http://schemas.microsoft.com/office/drawing/2014/main" val="1712190242"/>
                    </a:ext>
                  </a:extLst>
                </a:gridCol>
                <a:gridCol w="1759077">
                  <a:extLst>
                    <a:ext uri="{9D8B030D-6E8A-4147-A177-3AD203B41FA5}">
                      <a16:colId xmlns:a16="http://schemas.microsoft.com/office/drawing/2014/main" val="1012182211"/>
                    </a:ext>
                  </a:extLst>
                </a:gridCol>
                <a:gridCol w="1682790">
                  <a:extLst>
                    <a:ext uri="{9D8B030D-6E8A-4147-A177-3AD203B41FA5}">
                      <a16:colId xmlns:a16="http://schemas.microsoft.com/office/drawing/2014/main" val="3951246793"/>
                    </a:ext>
                  </a:extLst>
                </a:gridCol>
              </a:tblGrid>
              <a:tr h="28717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YWOR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JELASAN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’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N’T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534716"/>
                  </a:ext>
                </a:extLst>
              </a:tr>
              <a:tr h="862619"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LEARNING AGILITY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semang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al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pelajar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r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agar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u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lev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kemba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d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i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dustr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nsiste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eri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wakt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lajar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getahu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1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levan</a:t>
                      </a:r>
                      <a:r>
                        <a:rPr lang="en-ID" sz="700" b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kemba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rganisa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p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kai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kni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upu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no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kni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mas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gemba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r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emimpin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ola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ku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ubah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ua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p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hasil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299867"/>
                  </a:ext>
                </a:extLst>
              </a:tr>
              <a:tr h="674163"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NOVATIV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respo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ubah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jad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inisia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wujud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de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reatif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bai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kelanjut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ukur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tanggungjawab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lib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upaya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labora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iha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is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inova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eri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yan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maki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g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di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ul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r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l-ha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derhan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yampai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lal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nya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de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p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ti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yelesai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877927"/>
                  </a:ext>
                </a:extLst>
              </a:tr>
              <a:tr h="1124592"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SILIENCE 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unjuk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inerj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nsiste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ai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skipu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ad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i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wah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kan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ubah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u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eru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upu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angalam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gagal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ih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ta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ag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uang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lajar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kembang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ari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r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hadap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ta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lam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yelesai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uga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785831"/>
                  </a:ext>
                </a:extLst>
              </a:tr>
              <a:tr h="886071"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OPLE AGILITY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mp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angu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la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trategis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win-win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nil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mbah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uruh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mangk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enti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capa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si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harap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 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eta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key stakeholder internal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milik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upay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aham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ilakuny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hingga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p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ilih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dekat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p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interak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andalk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orang-orang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tentu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interaksi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ystakeholder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“</a:t>
                      </a:r>
                      <a:r>
                        <a:rPr lang="en-ID" sz="7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lit</a:t>
                      </a:r>
                      <a:r>
                        <a:rPr lang="en-ID" sz="7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”.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538823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8E931B3-E290-C15F-7677-495457B45A6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9262" t="19441" r="73842" b="55277"/>
          <a:stretch>
            <a:fillRect/>
          </a:stretch>
        </p:blipFill>
        <p:spPr>
          <a:xfrm>
            <a:off x="570435" y="878739"/>
            <a:ext cx="1842718" cy="155095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AABA887-7331-03E4-1671-4F8E437E732E}"/>
              </a:ext>
            </a:extLst>
          </p:cNvPr>
          <p:cNvSpPr txBox="1"/>
          <p:nvPr userDrawn="1"/>
        </p:nvSpPr>
        <p:spPr>
          <a:xfrm>
            <a:off x="327942" y="2844367"/>
            <a:ext cx="241455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ecara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erukur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roaktif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,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cepat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anggap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adaptasi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erhadap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rubah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ituasi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eng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lakuk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rbaik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yang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kelanjut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nggunak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bagai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alternatif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cara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yang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beda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alam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nyelesaik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antang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9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kerjaan</a:t>
            </a:r>
            <a:r>
              <a:rPr kumimoji="0" lang="en-ID" sz="9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guna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apat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mberikan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yanan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yang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emakin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aik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agi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9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internal dan </a:t>
            </a:r>
            <a:r>
              <a:rPr kumimoji="0" lang="en-ID" sz="9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eksternal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1186D5-95D0-E55D-485E-E20CF6DEAEAB}"/>
              </a:ext>
            </a:extLst>
          </p:cNvPr>
          <p:cNvSpPr txBox="1"/>
          <p:nvPr userDrawn="1"/>
        </p:nvSpPr>
        <p:spPr>
          <a:xfrm>
            <a:off x="327942" y="2310140"/>
            <a:ext cx="2327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EE272E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LINCAH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B672B8-2A7F-0473-DAE3-1EDAD7F86D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FEACF9-49B8-C07A-AF1D-D4A3B4C5F2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E17BD2-3F7A-B962-0C20-28DCEDB68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C44B14-C9E9-FD34-3A55-E10ACC037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CF1AE2-43AE-1536-0AF5-396F34137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45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39CEFD-3323-9AD1-84CF-CA4706DAAB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6374B0-4F09-0E83-F6D3-FEB8566836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B37C40-A6BF-9384-40CC-257D9BF60D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DAE6D9-979F-77F3-3B54-0AA110B25E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A9C512-378E-397D-0CBD-F0B705D366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231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6FCFE-0AE2-048C-6B82-7F894B5ED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2EC7C2-7CC8-4EAE-A806-C57B079D5C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817615-DC1E-2826-8C87-2EE3510ECC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E8341-CA9B-E9E3-F017-B0BF4C177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4E4B39-8E4A-0FD9-66E8-F4FDC209C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564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8B9DC-AEF4-5A19-DD45-EC9FDCAE2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B40E-1FDB-4121-3225-789A67FD19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B21C3E-8144-C48C-7513-1F8FE767A2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42FD86-CB6A-0F0D-F75E-D7EAF95F8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ABC374-1490-498F-69B4-D7F1B8821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95676A-5407-9F15-DB6A-08A768C8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27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C4BA67-7BC5-8F37-3E3A-A33686A7A7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A4CB2C-6534-1C19-FD2C-5792AE2CE2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7302B7-E84E-C136-17A9-F88956097F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96617A-62DE-B9E2-A827-9165C4B9ABC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87162D-C03F-FED8-4ED3-F89A3911D7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A73C64-580D-9024-20EC-9DF7B2850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2C03EDD-B550-5E6F-BE2F-F5F0943CB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75931E-B3F8-EE26-8AD9-E0DD5D85BA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9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7616F1-5D01-B7F2-6FCB-F08C74F2A7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1E3049-B9F0-BBEF-C3BB-ADD5005A8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A008F0-9820-0C12-5564-93DDEE007D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A551CB-BBCD-BC4B-C2EC-507138A66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35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025212-2935-ECBA-DE16-BAE5F0120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999472-173C-EE22-4629-F4A0DFC5B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16C865-9F53-9F97-D220-248514E83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44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D606EF-1A80-BF4A-9379-28A23747F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223B7A-0E65-2CCB-14F5-477649C912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2ED385-CD56-4E8C-65F6-C86F67253C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DAED64-80BE-5D6C-8188-87247CCC41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F8E25A-6B8E-1B73-6578-539D752E7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087ADE-35BC-71BA-8587-0EF2780F1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33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ADB61-05E0-7D33-B81D-02C49E3B4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837BDF9-CC58-1E25-5499-A3060F8D18D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A1D20E-97B9-E20F-2111-722409517C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C62EB5-70CA-C6AC-1552-F6937137C4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319442-6140-A8CB-96EA-8DA54C9B0D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D87FEE-A9E5-F208-D882-CCE3C0468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17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5EEF14-F1BD-199E-F0B7-68248DEAB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558A42-2961-7E62-CB89-989D5B83DB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EF67ED-2820-B4C0-AE92-B4A5E3EF4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9DB63C-2DA0-BF2C-6205-59A6B0EA6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A8CC23-93E5-3883-B218-8E22D3AB5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17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1_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159D1D2-AB0F-28B5-F280-5DEE22E0CCD1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025422" y="737384"/>
          <a:ext cx="5904089" cy="3834617"/>
        </p:xfrm>
        <a:graphic>
          <a:graphicData uri="http://schemas.openxmlformats.org/drawingml/2006/table">
            <a:tbl>
              <a:tblPr/>
              <a:tblGrid>
                <a:gridCol w="975923">
                  <a:extLst>
                    <a:ext uri="{9D8B030D-6E8A-4147-A177-3AD203B41FA5}">
                      <a16:colId xmlns:a16="http://schemas.microsoft.com/office/drawing/2014/main" val="389181004"/>
                    </a:ext>
                  </a:extLst>
                </a:gridCol>
                <a:gridCol w="1486299">
                  <a:extLst>
                    <a:ext uri="{9D8B030D-6E8A-4147-A177-3AD203B41FA5}">
                      <a16:colId xmlns:a16="http://schemas.microsoft.com/office/drawing/2014/main" val="1712190242"/>
                    </a:ext>
                  </a:extLst>
                </a:gridCol>
                <a:gridCol w="1759077">
                  <a:extLst>
                    <a:ext uri="{9D8B030D-6E8A-4147-A177-3AD203B41FA5}">
                      <a16:colId xmlns:a16="http://schemas.microsoft.com/office/drawing/2014/main" val="1012182211"/>
                    </a:ext>
                  </a:extLst>
                </a:gridCol>
                <a:gridCol w="1682790">
                  <a:extLst>
                    <a:ext uri="{9D8B030D-6E8A-4147-A177-3AD203B41FA5}">
                      <a16:colId xmlns:a16="http://schemas.microsoft.com/office/drawing/2014/main" val="3951246793"/>
                    </a:ext>
                  </a:extLst>
                </a:gridCol>
              </a:tblGrid>
              <a:tr h="28717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YWOR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JELASAN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’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N’T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534716"/>
                  </a:ext>
                </a:extLst>
              </a:tr>
              <a:tr h="862619"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MPATHY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pertimbang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du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andang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hususny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r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elum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ambi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utus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tindak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 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angu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unika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u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rah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ingkat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ngagement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elum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ula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atu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isiatif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akomodir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uruh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su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p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ing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p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d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fokus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tam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rganisa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299867"/>
                  </a:ext>
                </a:extLst>
              </a:tr>
              <a:tr h="674163"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SPONSIV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anggap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ep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p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sik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sponsif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ep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anggap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rt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yelesai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salah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tau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luh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utama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cepat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p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perhati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si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877927"/>
                  </a:ext>
                </a:extLst>
              </a:tr>
              <a:tr h="1124592"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OSPITABL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hasil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aik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asti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hw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dapat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galam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maki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interak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aryaw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/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layan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aku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ikir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1" i="1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nilai</a:t>
                      </a:r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1" i="1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mbah</a:t>
                      </a:r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yang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p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eri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ai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lan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SLA unit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masing-masing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aku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mbiar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had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ilaku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ungki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urang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nyaman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tau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785831"/>
                  </a:ext>
                </a:extLst>
              </a:tr>
              <a:tr h="886071"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OMMUNICATIV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komunika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fektif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fisie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lam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has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paham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oleh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agar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pa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ayan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aga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gi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r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,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alu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iap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wab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tanya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kait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layan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di mana pu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ad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gunak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sum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pa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klarifika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tas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ndisi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8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8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53882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E93C210-DEBE-1F0F-7D4F-FCB68533DD0F}"/>
              </a:ext>
            </a:extLst>
          </p:cNvPr>
          <p:cNvSpPr txBox="1"/>
          <p:nvPr userDrawn="1"/>
        </p:nvSpPr>
        <p:spPr>
          <a:xfrm>
            <a:off x="452443" y="2762027"/>
            <a:ext cx="241455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ecara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roaktif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ncar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ahu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,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menuh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layan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kebutuh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,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aik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eksternal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aupu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interna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D" sz="1000" b="0" i="0" u="none" strike="noStrike" kern="0" cap="none" spc="0" normalizeH="0" baseline="0" noProof="0" dirty="0" err="1">
              <a:ln>
                <a:noFill/>
              </a:ln>
              <a:solidFill>
                <a:srgbClr val="212121">
                  <a:lumMod val="10000"/>
                </a:srgbClr>
              </a:solidFill>
              <a:effectLst/>
              <a:uLnTx/>
              <a:uFillTx/>
              <a:latin typeface="Poppins" pitchFamily="2" charset="77"/>
              <a:cs typeface="Poppins" pitchFamily="2" charset="77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A2AE3D3-5E1A-FE19-28DD-42E49F956C24}"/>
              </a:ext>
            </a:extLst>
          </p:cNvPr>
          <p:cNvSpPr txBox="1"/>
          <p:nvPr userDrawn="1"/>
        </p:nvSpPr>
        <p:spPr>
          <a:xfrm>
            <a:off x="452443" y="2227800"/>
            <a:ext cx="2327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EE272E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RAMA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3D94AA4-E704-742C-644B-F14225BFCFC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7575" t="20902" r="52257" b="55479"/>
          <a:stretch>
            <a:fillRect/>
          </a:stretch>
        </p:blipFill>
        <p:spPr>
          <a:xfrm>
            <a:off x="849654" y="846002"/>
            <a:ext cx="1108954" cy="1448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93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DCB7F95-2825-09CC-AA68-0E3D9B22D36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D0D5E38-A0FD-F3CE-4B45-DA5F4B00A1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2ED377-6718-49EE-5619-76037D0654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B6F254-C021-68F3-167E-673E275BF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D1A04E-E239-6A27-B97C-EF2FF1809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83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3" y="448771"/>
            <a:ext cx="24046" cy="101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662" noProof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white">
          <a:xfrm>
            <a:off x="1869837" y="834512"/>
            <a:ext cx="5403272" cy="357983"/>
          </a:xfrm>
        </p:spPr>
        <p:txBody>
          <a:bodyPr vert="horz" lIns="0" tIns="0" rIns="0" bIns="64008" rtlCol="0" anchor="t" anchorCtr="0">
            <a:spAutoFit/>
          </a:bodyPr>
          <a:lstStyle>
            <a:lvl1pPr algn="l" defTabSz="6742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white">
          <a:xfrm>
            <a:off x="1869837" y="1178057"/>
            <a:ext cx="5403272" cy="293293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18" baseline="0">
                <a:solidFill>
                  <a:schemeClr val="bg1"/>
                </a:solidFill>
                <a:latin typeface="+mj-lt"/>
              </a:defRPr>
            </a:lvl1pPr>
            <a:lvl2pPr marL="337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4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6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45" name="Confidentiality Stamp"/>
          <p:cNvSpPr txBox="1"/>
          <p:nvPr userDrawn="1">
            <p:custDataLst>
              <p:tags r:id="rId4"/>
            </p:custDataLst>
          </p:nvPr>
        </p:nvSpPr>
        <p:spPr>
          <a:xfrm>
            <a:off x="482140" y="2468882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662" i="1" noProof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9" y="2674620"/>
            <a:ext cx="1246909" cy="1935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662" b="1" i="1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33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40" y="2874310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662" i="1">
              <a:latin typeface="Georgia" pitchFamily="18" charset="0"/>
            </a:endParaRP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1731213" y="2375718"/>
            <a:ext cx="6109027" cy="211791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02270">
              <a:spcAft>
                <a:spcPts val="664"/>
              </a:spcAft>
            </a:pPr>
            <a:endParaRPr lang="en-GB" sz="1456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0290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9" y="427395"/>
            <a:ext cx="4020590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728" b="1" i="0" kern="120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heading here</a:t>
            </a:r>
            <a:r>
              <a:rPr lang="en-GB"/>
              <a:t> – Insert text her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4641272" y="427480"/>
            <a:ext cx="4023360" cy="556793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728" b="1" i="1" kern="1200" baseline="0" noProof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/>
              <a:t>IFG view – Inserted text here should not be bold.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40" y="1100233"/>
            <a:ext cx="8179724" cy="3492611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0" name="HeaderTOCPlaceholder"/>
          <p:cNvSpPr txBox="1"/>
          <p:nvPr userDrawn="1">
            <p:custDataLst>
              <p:tags r:id="rId2"/>
            </p:custDataLst>
          </p:nvPr>
        </p:nvSpPr>
        <p:spPr>
          <a:xfrm>
            <a:off x="3255819" y="465943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482140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24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sp>
        <p:nvSpPr>
          <p:cNvPr id="26" name="Section Header">
            <a:extLst>
              <a:ext uri="{FF2B5EF4-FFF2-40B4-BE49-F238E27FC236}">
                <a16:creationId xmlns:a16="http://schemas.microsoft.com/office/drawing/2014/main" id="{EC381650-FD69-4942-AF4E-050D7BAA500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52652" y="465942"/>
            <a:ext cx="2788013" cy="90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4C1CC38-704B-4750-99FC-9DA907F3F845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5362054C-6160-40D1-9D02-8E5B7F3F78F4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11C8EDD-A4EC-4B45-A670-DDFC92DAD569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37" name="Page Number">
            <a:extLst>
              <a:ext uri="{FF2B5EF4-FFF2-40B4-BE49-F238E27FC236}">
                <a16:creationId xmlns:a16="http://schemas.microsoft.com/office/drawing/2014/main" id="{E90265FD-26C6-4CD6-9B61-98951D26D96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CD994AC-D20C-4868-A081-55A2AD326E50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Footer">
            <a:extLst>
              <a:ext uri="{FF2B5EF4-FFF2-40B4-BE49-F238E27FC236}">
                <a16:creationId xmlns:a16="http://schemas.microsoft.com/office/drawing/2014/main" id="{EE75A69C-E1B4-4330-8207-6651FECD6B9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0" name="Draft stamp">
            <a:extLst>
              <a:ext uri="{FF2B5EF4-FFF2-40B4-BE49-F238E27FC236}">
                <a16:creationId xmlns:a16="http://schemas.microsoft.com/office/drawing/2014/main" id="{2B14B904-C41C-4919-AAA4-E01027F346F4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8ADC1E5-0797-4419-B169-01EED1C82426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97CDD9CE-588F-4CC2-BDA6-152538F109B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C1BEB93-533D-4D98-9E41-5A086DE7510E}"/>
              </a:ext>
            </a:extLst>
          </p:cNvPr>
          <p:cNvCxnSpPr>
            <a:cxnSpLocks/>
          </p:cNvCxnSpPr>
          <p:nvPr userDrawn="1"/>
        </p:nvCxnSpPr>
        <p:spPr>
          <a:xfrm>
            <a:off x="378594" y="1030495"/>
            <a:ext cx="8302214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476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9" y="427395"/>
            <a:ext cx="4020590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728" b="1" i="0" kern="120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heading here</a:t>
            </a:r>
            <a:r>
              <a:rPr lang="en-GB"/>
              <a:t> – Insert text her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4641272" y="427480"/>
            <a:ext cx="4023360" cy="556793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728" b="1" i="1" kern="1200" baseline="0" noProof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/>
              <a:t>IFG view – Inserted text here should not be bold.</a:t>
            </a:r>
          </a:p>
        </p:txBody>
      </p:sp>
      <p:sp>
        <p:nvSpPr>
          <p:cNvPr id="30" name="HeaderTOCPlaceholder"/>
          <p:cNvSpPr txBox="1"/>
          <p:nvPr userDrawn="1">
            <p:custDataLst>
              <p:tags r:id="rId1"/>
            </p:custDataLst>
          </p:nvPr>
        </p:nvSpPr>
        <p:spPr>
          <a:xfrm>
            <a:off x="3255819" y="465943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482140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24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sp>
        <p:nvSpPr>
          <p:cNvPr id="26" name="Section Header">
            <a:extLst>
              <a:ext uri="{FF2B5EF4-FFF2-40B4-BE49-F238E27FC236}">
                <a16:creationId xmlns:a16="http://schemas.microsoft.com/office/drawing/2014/main" id="{EC381650-FD69-4942-AF4E-050D7BAA500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52652" y="465942"/>
            <a:ext cx="2788013" cy="90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4C1CC38-704B-4750-99FC-9DA907F3F845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5362054C-6160-40D1-9D02-8E5B7F3F78F4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11C8EDD-A4EC-4B45-A670-DDFC92DAD569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37" name="Page Number">
            <a:extLst>
              <a:ext uri="{FF2B5EF4-FFF2-40B4-BE49-F238E27FC236}">
                <a16:creationId xmlns:a16="http://schemas.microsoft.com/office/drawing/2014/main" id="{E90265FD-26C6-4CD6-9B61-98951D26D96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CD994AC-D20C-4868-A081-55A2AD326E50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Footer">
            <a:extLst>
              <a:ext uri="{FF2B5EF4-FFF2-40B4-BE49-F238E27FC236}">
                <a16:creationId xmlns:a16="http://schemas.microsoft.com/office/drawing/2014/main" id="{EE75A69C-E1B4-4330-8207-6651FECD6B9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0" name="Draft stamp">
            <a:extLst>
              <a:ext uri="{FF2B5EF4-FFF2-40B4-BE49-F238E27FC236}">
                <a16:creationId xmlns:a16="http://schemas.microsoft.com/office/drawing/2014/main" id="{2B14B904-C41C-4919-AAA4-E01027F346F4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8ADC1E5-0797-4419-B169-01EED1C82426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97CDD9CE-588F-4CC2-BDA6-152538F109B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C1BEB93-533D-4D98-9E41-5A086DE7510E}"/>
              </a:ext>
            </a:extLst>
          </p:cNvPr>
          <p:cNvCxnSpPr>
            <a:cxnSpLocks/>
          </p:cNvCxnSpPr>
          <p:nvPr userDrawn="1"/>
        </p:nvCxnSpPr>
        <p:spPr>
          <a:xfrm>
            <a:off x="378594" y="1030495"/>
            <a:ext cx="8302214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9621D0C0-492E-4C46-B2F3-F562C45798A8}"/>
              </a:ext>
            </a:extLst>
          </p:cNvPr>
          <p:cNvSpPr>
            <a:spLocks noGrp="1"/>
          </p:cNvSpPr>
          <p:nvPr>
            <p:ph sz="quarter" idx="24"/>
            <p:custDataLst>
              <p:tags r:id="rId9"/>
            </p:custDataLst>
          </p:nvPr>
        </p:nvSpPr>
        <p:spPr>
          <a:xfrm>
            <a:off x="482141" y="1099832"/>
            <a:ext cx="4019983" cy="3493012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id="{3D22171F-6F82-4EFF-A1AB-C3D435130701}"/>
              </a:ext>
            </a:extLst>
          </p:cNvPr>
          <p:cNvSpPr>
            <a:spLocks noGrp="1"/>
          </p:cNvSpPr>
          <p:nvPr>
            <p:ph sz="quarter" idx="25"/>
            <p:custDataLst>
              <p:tags r:id="rId10"/>
            </p:custDataLst>
          </p:nvPr>
        </p:nvSpPr>
        <p:spPr>
          <a:xfrm>
            <a:off x="4641995" y="1099832"/>
            <a:ext cx="4023360" cy="3493012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505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R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9" y="427395"/>
            <a:ext cx="4020590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728" b="1" i="0" kern="120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heading here</a:t>
            </a:r>
            <a:r>
              <a:rPr lang="en-GB"/>
              <a:t> – Insert text here</a:t>
            </a:r>
          </a:p>
        </p:txBody>
      </p:sp>
      <p:sp>
        <p:nvSpPr>
          <p:cNvPr id="53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4641272" y="427480"/>
            <a:ext cx="4023360" cy="556793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728" b="1" i="1" kern="1200" baseline="0" noProof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/>
              <a:t>IFG view – Inserted text here should not be bold.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sp>
        <p:nvSpPr>
          <p:cNvPr id="32" name="Section Footer">
            <a:extLst>
              <a:ext uri="{FF2B5EF4-FFF2-40B4-BE49-F238E27FC236}">
                <a16:creationId xmlns:a16="http://schemas.microsoft.com/office/drawing/2014/main" id="{7F9E16D3-234B-4F26-A7C0-84045460A7B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9792C6B-3638-460B-8F6C-353CEBF128BB}"/>
              </a:ext>
            </a:extLst>
          </p:cNvPr>
          <p:cNvCxnSpPr>
            <a:cxnSpLocks/>
          </p:cNvCxnSpPr>
          <p:nvPr userDrawn="1"/>
        </p:nvCxnSpPr>
        <p:spPr>
          <a:xfrm>
            <a:off x="378594" y="1030495"/>
            <a:ext cx="8302214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228973F-0093-4EFB-BEA0-600AE36C46DD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1C1D2979-D923-43BB-89A8-A3324516263F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E34DD95-1D74-4913-918D-D17875EA55AB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36" name="Page Number">
            <a:extLst>
              <a:ext uri="{FF2B5EF4-FFF2-40B4-BE49-F238E27FC236}">
                <a16:creationId xmlns:a16="http://schemas.microsoft.com/office/drawing/2014/main" id="{289B882C-CB11-4ED8-85EF-94E6D87D186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1B864E0-7E1D-4162-AEE0-F0FC9565D270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Footer">
            <a:extLst>
              <a:ext uri="{FF2B5EF4-FFF2-40B4-BE49-F238E27FC236}">
                <a16:creationId xmlns:a16="http://schemas.microsoft.com/office/drawing/2014/main" id="{2E9023EC-808D-4E44-9B30-4B2BA238468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0" name="Draft stamp">
            <a:extLst>
              <a:ext uri="{FF2B5EF4-FFF2-40B4-BE49-F238E27FC236}">
                <a16:creationId xmlns:a16="http://schemas.microsoft.com/office/drawing/2014/main" id="{726DB0CA-BE28-4D87-8C7B-703E98CA3D8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A7C056E-F1FD-489A-970C-A7FA00CDBA81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E6C5A47D-B7DB-4E22-A576-4211AF58DA0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39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40" y="427395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tabLst/>
              <a:defRPr lang="en-GB" sz="1456" b="1" i="0" kern="120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40" y="1071426"/>
            <a:ext cx="8179724" cy="3500303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286799B-896C-49A2-9B37-83952631859A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25B53B40-2340-47A7-B04A-09EA36CB58CB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30" name="Section Footer">
            <a:extLst>
              <a:ext uri="{FF2B5EF4-FFF2-40B4-BE49-F238E27FC236}">
                <a16:creationId xmlns:a16="http://schemas.microsoft.com/office/drawing/2014/main" id="{C34E5758-88DF-4F50-998A-04F3AEBA625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8D75298-7F15-49E4-A480-925453CF1FB0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37" name="Page Number">
            <a:extLst>
              <a:ext uri="{FF2B5EF4-FFF2-40B4-BE49-F238E27FC236}">
                <a16:creationId xmlns:a16="http://schemas.microsoft.com/office/drawing/2014/main" id="{EBF4384E-9CF7-4DB6-A788-35C3E492C93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0C0700B-C76B-4B94-A954-45F7F867F2AC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Footer">
            <a:extLst>
              <a:ext uri="{FF2B5EF4-FFF2-40B4-BE49-F238E27FC236}">
                <a16:creationId xmlns:a16="http://schemas.microsoft.com/office/drawing/2014/main" id="{133CAFA2-1221-427B-892D-3BA0D6E9F4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0" name="Draft stamp">
            <a:extLst>
              <a:ext uri="{FF2B5EF4-FFF2-40B4-BE49-F238E27FC236}">
                <a16:creationId xmlns:a16="http://schemas.microsoft.com/office/drawing/2014/main" id="{8A2FCF89-1A0C-40A5-B1C1-F4345B6FC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AF311F5-74F9-4522-8C55-5E710E7C0403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81714DFC-21B8-4A01-8165-F9B4A3EB648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008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40" y="427395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1456" b="1" i="0" kern="120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103835"/>
            <a:ext cx="4023360" cy="3421664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638502" y="1103834"/>
            <a:ext cx="4023360" cy="3421663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5E82E1-21E5-4BF1-9889-5F8B20FDAAD9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5D64A94E-C839-40DB-8F14-D7CA55A28820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35" name="Section Footer">
            <a:extLst>
              <a:ext uri="{FF2B5EF4-FFF2-40B4-BE49-F238E27FC236}">
                <a16:creationId xmlns:a16="http://schemas.microsoft.com/office/drawing/2014/main" id="{AD2ADA15-DF4C-4FDC-A239-B70113034F9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1162247-2BE2-4885-B770-30B4A1FEBE34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44" name="Page Number">
            <a:extLst>
              <a:ext uri="{FF2B5EF4-FFF2-40B4-BE49-F238E27FC236}">
                <a16:creationId xmlns:a16="http://schemas.microsoft.com/office/drawing/2014/main" id="{7F4EB86E-734D-47CB-95A2-0FF3845E10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55407C0-13A5-4B03-9F12-52C3664E2AC4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Section Footer">
            <a:extLst>
              <a:ext uri="{FF2B5EF4-FFF2-40B4-BE49-F238E27FC236}">
                <a16:creationId xmlns:a16="http://schemas.microsoft.com/office/drawing/2014/main" id="{A65B07B7-BD1A-49AA-93D8-53FCCD11944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9" name="Draft stamp">
            <a:extLst>
              <a:ext uri="{FF2B5EF4-FFF2-40B4-BE49-F238E27FC236}">
                <a16:creationId xmlns:a16="http://schemas.microsoft.com/office/drawing/2014/main" id="{9C744E9C-6F12-4A31-8A4D-651950DCB49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5B45F1C-B3C5-46CF-AAF0-7AC2704B4E9B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0216A99F-6463-4E4C-BB5E-CD31861C1EC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015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40" y="427395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1456" b="1" i="0" kern="120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7" y="1103834"/>
            <a:ext cx="5414819" cy="3489010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026729" y="1103834"/>
            <a:ext cx="2629593" cy="3489010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EC4CF80-BB7D-4A8A-BBF4-4753601C987C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8310ED20-7550-42D8-BEEF-470F7771D036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31" name="Section Footer">
            <a:extLst>
              <a:ext uri="{FF2B5EF4-FFF2-40B4-BE49-F238E27FC236}">
                <a16:creationId xmlns:a16="http://schemas.microsoft.com/office/drawing/2014/main" id="{739DDAE8-9E47-476C-9F6F-64A70A50F6B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1219273-6A04-406F-82BF-6E86A87208C2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35" name="Page Number">
            <a:extLst>
              <a:ext uri="{FF2B5EF4-FFF2-40B4-BE49-F238E27FC236}">
                <a16:creationId xmlns:a16="http://schemas.microsoft.com/office/drawing/2014/main" id="{E5CBA395-F9DF-4AD3-8D1F-A7D4838F7EF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3D6EE9C-65ED-44BD-8555-4BF2D9E857F5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Section Footer">
            <a:extLst>
              <a:ext uri="{FF2B5EF4-FFF2-40B4-BE49-F238E27FC236}">
                <a16:creationId xmlns:a16="http://schemas.microsoft.com/office/drawing/2014/main" id="{8EE90BB1-AF2B-425D-A527-D4F78C2A91A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4" name="Draft stamp">
            <a:extLst>
              <a:ext uri="{FF2B5EF4-FFF2-40B4-BE49-F238E27FC236}">
                <a16:creationId xmlns:a16="http://schemas.microsoft.com/office/drawing/2014/main" id="{3F73E3E9-5F3E-46B5-A2D3-1EEC538272E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84559AB-E43B-4668-82D8-62B228581F9D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F7265B59-8BC7-4362-9621-E6D2F0373F2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44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9148" y="443774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1456" b="1" i="0" kern="120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9" y="1175856"/>
            <a:ext cx="4020590" cy="1509687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82139" y="2722704"/>
            <a:ext cx="4020590" cy="1802794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4641273" y="1175855"/>
            <a:ext cx="4023360" cy="3349641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5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20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0059A77-377C-4E4B-B896-D558CDFE52C3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BA6E0960-EDD9-4ECA-A4B9-FB48117DA3E9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601CA5A2-BD41-434E-A5F0-A74F82B1995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E4CF006-81EE-4213-852C-49F2CE8934F3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B19859CD-3FA5-48A9-A3B3-A17A2D55401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D048468-CE05-4F58-8C33-2B2E44BCAD45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Section Footer">
            <a:extLst>
              <a:ext uri="{FF2B5EF4-FFF2-40B4-BE49-F238E27FC236}">
                <a16:creationId xmlns:a16="http://schemas.microsoft.com/office/drawing/2014/main" id="{35199900-3E12-4649-9B68-1FF602234DB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9" name="Draft stamp">
            <a:extLst>
              <a:ext uri="{FF2B5EF4-FFF2-40B4-BE49-F238E27FC236}">
                <a16:creationId xmlns:a16="http://schemas.microsoft.com/office/drawing/2014/main" id="{FB83A100-9371-42DE-862F-6BE3F1F4B021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91F9970-4AC2-4363-9438-088CAA77DCC0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069CD641-35A8-4FCD-9E22-58329AC3C93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187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40" y="443774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1456" b="1" i="0" kern="120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2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482138" y="1175857"/>
            <a:ext cx="4023360" cy="17661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4638502" y="1175856"/>
            <a:ext cx="4023360" cy="176612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482140" y="3001316"/>
            <a:ext cx="8179724" cy="147875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12EE005-CC4E-47D6-9945-87B307F12805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64D3267A-9BD1-40F1-AFDC-53DF48FB9387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32" name="Section Footer">
            <a:extLst>
              <a:ext uri="{FF2B5EF4-FFF2-40B4-BE49-F238E27FC236}">
                <a16:creationId xmlns:a16="http://schemas.microsoft.com/office/drawing/2014/main" id="{E7F25FFC-EED3-4D4A-9AB0-48FD058FE31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24D5350-CBA4-45CF-8532-613132C8DA0E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35" name="Page Number">
            <a:extLst>
              <a:ext uri="{FF2B5EF4-FFF2-40B4-BE49-F238E27FC236}">
                <a16:creationId xmlns:a16="http://schemas.microsoft.com/office/drawing/2014/main" id="{F184902D-4BC4-4A8E-85DB-1B2DFEA8817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75E9674-BEDB-408A-8453-2B020371A111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ection Footer">
            <a:extLst>
              <a:ext uri="{FF2B5EF4-FFF2-40B4-BE49-F238E27FC236}">
                <a16:creationId xmlns:a16="http://schemas.microsoft.com/office/drawing/2014/main" id="{8F4809BF-6CE0-43C8-8F16-FA64C5A4398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7" name="Draft stamp">
            <a:extLst>
              <a:ext uri="{FF2B5EF4-FFF2-40B4-BE49-F238E27FC236}">
                <a16:creationId xmlns:a16="http://schemas.microsoft.com/office/drawing/2014/main" id="{54CBB80B-CC9D-44AE-8F1D-9546CE6C0248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D484BB66-3C78-427B-A4BF-83BEA3CC68E5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1887FD2-0F18-43BC-B8C8-DE1480B0898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24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1_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9D47CD6-778D-4C4D-FC83-8FC5D39EF20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25179785"/>
              </p:ext>
            </p:extLst>
          </p:nvPr>
        </p:nvGraphicFramePr>
        <p:xfrm>
          <a:off x="3025422" y="737384"/>
          <a:ext cx="5904089" cy="4099306"/>
        </p:xfrm>
        <a:graphic>
          <a:graphicData uri="http://schemas.openxmlformats.org/drawingml/2006/table">
            <a:tbl>
              <a:tblPr/>
              <a:tblGrid>
                <a:gridCol w="975923">
                  <a:extLst>
                    <a:ext uri="{9D8B030D-6E8A-4147-A177-3AD203B41FA5}">
                      <a16:colId xmlns:a16="http://schemas.microsoft.com/office/drawing/2014/main" val="389181004"/>
                    </a:ext>
                  </a:extLst>
                </a:gridCol>
                <a:gridCol w="1486299">
                  <a:extLst>
                    <a:ext uri="{9D8B030D-6E8A-4147-A177-3AD203B41FA5}">
                      <a16:colId xmlns:a16="http://schemas.microsoft.com/office/drawing/2014/main" val="1712190242"/>
                    </a:ext>
                  </a:extLst>
                </a:gridCol>
                <a:gridCol w="1759077">
                  <a:extLst>
                    <a:ext uri="{9D8B030D-6E8A-4147-A177-3AD203B41FA5}">
                      <a16:colId xmlns:a16="http://schemas.microsoft.com/office/drawing/2014/main" val="1012182211"/>
                    </a:ext>
                  </a:extLst>
                </a:gridCol>
                <a:gridCol w="1682790">
                  <a:extLst>
                    <a:ext uri="{9D8B030D-6E8A-4147-A177-3AD203B41FA5}">
                      <a16:colId xmlns:a16="http://schemas.microsoft.com/office/drawing/2014/main" val="3951246793"/>
                    </a:ext>
                  </a:extLst>
                </a:gridCol>
              </a:tblGrid>
              <a:tr h="2647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YWOR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JELASAN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’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N’T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534716"/>
                  </a:ext>
                </a:extLst>
              </a:tr>
              <a:tr h="795376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OMMITTE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nsiste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komitme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yelesa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ggu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jawab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 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yelesa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su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waktu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sepakat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aba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itme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me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fleksibi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adapt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299867"/>
                  </a:ext>
                </a:extLst>
              </a:tr>
              <a:tr h="1011744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OMPETENT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ingk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peten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kai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dust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ransport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ubl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wujud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ag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enter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of excellence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ingk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peten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ribad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kai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ida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u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p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juga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ta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lajar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ida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lev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rganis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877927"/>
                  </a:ext>
                </a:extLst>
              </a:tr>
              <a:tr h="1036927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OLUTION ORIENTE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unjuk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ik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foku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pad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capai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si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kua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dampa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anfa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knolog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mber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d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a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hadap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sala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ca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anfa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bag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lternatif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mber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u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dap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olu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u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elu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yelesa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su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heck list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anpa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perhitungkan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sesuaian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mpaknya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i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harapkan</a:t>
                      </a:r>
                      <a:r>
                        <a:rPr lang="en-ID" sz="900" b="0" i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  <a:endParaRPr lang="en-ID" sz="9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785831"/>
                  </a:ext>
                </a:extLst>
              </a:tr>
              <a:tr h="817000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CCOUNTABL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uk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had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mp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l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gun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ingkat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si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optimal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ktif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ca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mp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l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ingkat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layan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g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hinda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tanggu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jawab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hasil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538823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8387A03-F5AF-52DE-76C3-90116A64B5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10371" t="53568" r="79461" b="22813"/>
          <a:stretch>
            <a:fillRect/>
          </a:stretch>
        </p:blipFill>
        <p:spPr>
          <a:xfrm>
            <a:off x="922244" y="737384"/>
            <a:ext cx="1108954" cy="144891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77170B3-71C7-61BA-B8C8-A3C01744DD10}"/>
              </a:ext>
            </a:extLst>
          </p:cNvPr>
          <p:cNvSpPr txBox="1"/>
          <p:nvPr userDrawn="1"/>
        </p:nvSpPr>
        <p:spPr>
          <a:xfrm>
            <a:off x="294133" y="2632296"/>
            <a:ext cx="241455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lakuk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uatu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kerja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/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tugas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ecara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tanggungjawab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serta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ilandas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atas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ngetahu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yang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ndalam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i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idangnya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mberik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hasil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yang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dampak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dan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apat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iandalka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oleh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internal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aupu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eksternal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D" sz="1000" b="0" i="0" u="none" strike="noStrike" kern="0" cap="none" spc="0" normalizeH="0" baseline="0" noProof="0" dirty="0" err="1">
              <a:ln>
                <a:noFill/>
              </a:ln>
              <a:solidFill>
                <a:srgbClr val="212121">
                  <a:lumMod val="10000"/>
                </a:srgbClr>
              </a:solidFill>
              <a:effectLst/>
              <a:uLnTx/>
              <a:uFillTx/>
              <a:latin typeface="Poppins" pitchFamily="2" charset="77"/>
              <a:cs typeface="Poppins" pitchFamily="2" charset="77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233930-1699-15F6-327C-D7CDDA0C76A6}"/>
              </a:ext>
            </a:extLst>
          </p:cNvPr>
          <p:cNvSpPr txBox="1"/>
          <p:nvPr userDrawn="1"/>
        </p:nvSpPr>
        <p:spPr>
          <a:xfrm>
            <a:off x="294133" y="2165190"/>
            <a:ext cx="25845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EE272E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TERPERCAYA</a:t>
            </a:r>
          </a:p>
        </p:txBody>
      </p:sp>
    </p:spTree>
    <p:extLst>
      <p:ext uri="{BB962C8B-B14F-4D97-AF65-F5344CB8AC3E}">
        <p14:creationId xmlns:p14="http://schemas.microsoft.com/office/powerpoint/2010/main" val="416717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40" y="443774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1456" b="1" i="0" kern="120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38" y="1142181"/>
            <a:ext cx="4023360" cy="1561204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4638502" y="1142181"/>
            <a:ext cx="4023360" cy="1561204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482138" y="2812305"/>
            <a:ext cx="4023360" cy="1561204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4638502" y="2812305"/>
            <a:ext cx="4023360" cy="1561204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1" name="HeaderTOCPlaceholder"/>
          <p:cNvSpPr txBox="1"/>
          <p:nvPr userDrawn="1">
            <p:custDataLst>
              <p:tags r:id="rId1"/>
            </p:custDataLst>
          </p:nvPr>
        </p:nvSpPr>
        <p:spPr>
          <a:xfrm>
            <a:off x="3255819" y="465943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482140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sp>
        <p:nvSpPr>
          <p:cNvPr id="43" name="Section Header">
            <a:extLst>
              <a:ext uri="{FF2B5EF4-FFF2-40B4-BE49-F238E27FC236}">
                <a16:creationId xmlns:a16="http://schemas.microsoft.com/office/drawing/2014/main" id="{78790038-A42C-469D-A16C-E50A03EA5E0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52652" y="465942"/>
            <a:ext cx="2788013" cy="90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4" name="Section Footer">
            <a:extLst>
              <a:ext uri="{FF2B5EF4-FFF2-40B4-BE49-F238E27FC236}">
                <a16:creationId xmlns:a16="http://schemas.microsoft.com/office/drawing/2014/main" id="{C28D858D-7133-4782-BFF6-5A2E49F48A8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E7D6D3F-6793-46A9-BE7E-7F3267EA8C50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8183F1B9-E7D6-48CD-A3B9-2B625707E4C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E8AA2D3-4178-4727-A14A-954DD9DAA32B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Section Footer">
            <a:extLst>
              <a:ext uri="{FF2B5EF4-FFF2-40B4-BE49-F238E27FC236}">
                <a16:creationId xmlns:a16="http://schemas.microsoft.com/office/drawing/2014/main" id="{71B8AB13-C62A-4AFC-9159-F1DA857A402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7" name="Draft stamp">
            <a:extLst>
              <a:ext uri="{FF2B5EF4-FFF2-40B4-BE49-F238E27FC236}">
                <a16:creationId xmlns:a16="http://schemas.microsoft.com/office/drawing/2014/main" id="{EFF007DE-7855-4846-A726-9EF6FA72C5B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7CB6F94-AC30-45CA-A2F2-C5DD04CC34F0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C7DC5F21-A218-40F0-9FF1-A106F4CEAC8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499A0A2-C233-40C4-B415-1F3A10490A97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45764519-3D0A-45C8-AB67-46B3B06BC9D2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</p:spTree>
    <p:extLst>
      <p:ext uri="{BB962C8B-B14F-4D97-AF65-F5344CB8AC3E}">
        <p14:creationId xmlns:p14="http://schemas.microsoft.com/office/powerpoint/2010/main" val="395679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40" y="443774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1456" b="1" i="0" kern="120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51" name="HeaderTOCPlaceholder"/>
          <p:cNvSpPr txBox="1"/>
          <p:nvPr userDrawn="1">
            <p:custDataLst>
              <p:tags r:id="rId1"/>
            </p:custDataLst>
          </p:nvPr>
        </p:nvSpPr>
        <p:spPr>
          <a:xfrm>
            <a:off x="3255819" y="465943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482140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sp>
        <p:nvSpPr>
          <p:cNvPr id="43" name="Section Header">
            <a:extLst>
              <a:ext uri="{FF2B5EF4-FFF2-40B4-BE49-F238E27FC236}">
                <a16:creationId xmlns:a16="http://schemas.microsoft.com/office/drawing/2014/main" id="{78790038-A42C-469D-A16C-E50A03EA5E0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52652" y="465942"/>
            <a:ext cx="2788013" cy="90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4" name="Section Footer">
            <a:extLst>
              <a:ext uri="{FF2B5EF4-FFF2-40B4-BE49-F238E27FC236}">
                <a16:creationId xmlns:a16="http://schemas.microsoft.com/office/drawing/2014/main" id="{C28D858D-7133-4782-BFF6-5A2E49F48A8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E7D6D3F-6793-46A9-BE7E-7F3267EA8C50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8183F1B9-E7D6-48CD-A3B9-2B625707E4C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E8AA2D3-4178-4727-A14A-954DD9DAA32B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Section Footer">
            <a:extLst>
              <a:ext uri="{FF2B5EF4-FFF2-40B4-BE49-F238E27FC236}">
                <a16:creationId xmlns:a16="http://schemas.microsoft.com/office/drawing/2014/main" id="{71B8AB13-C62A-4AFC-9159-F1DA857A402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7" name="Draft stamp">
            <a:extLst>
              <a:ext uri="{FF2B5EF4-FFF2-40B4-BE49-F238E27FC236}">
                <a16:creationId xmlns:a16="http://schemas.microsoft.com/office/drawing/2014/main" id="{EFF007DE-7855-4846-A726-9EF6FA72C5B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7CB6F94-AC30-45CA-A2F2-C5DD04CC34F0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C7DC5F21-A218-40F0-9FF1-A106F4CEAC8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499A0A2-C233-40C4-B415-1F3A10490A97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45764519-3D0A-45C8-AB67-46B3B06BC9D2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</p:spTree>
    <p:extLst>
      <p:ext uri="{BB962C8B-B14F-4D97-AF65-F5344CB8AC3E}">
        <p14:creationId xmlns:p14="http://schemas.microsoft.com/office/powerpoint/2010/main" val="3709242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Tags" hidden="1"/>
          <p:cNvSpPr txBox="1"/>
          <p:nvPr userDrawn="1">
            <p:custDataLst>
              <p:tags r:id="rId1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sp>
        <p:nvSpPr>
          <p:cNvPr id="15" name="HeaderTOCPlaceholder">
            <a:extLst>
              <a:ext uri="{FF2B5EF4-FFF2-40B4-BE49-F238E27FC236}">
                <a16:creationId xmlns:a16="http://schemas.microsoft.com/office/drawing/2014/main" id="{73BC6421-2C91-44EC-AB4E-A60DE33E21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5819" y="465943"/>
            <a:ext cx="8179724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7" name="Banner Statement">
            <a:extLst>
              <a:ext uri="{FF2B5EF4-FFF2-40B4-BE49-F238E27FC236}">
                <a16:creationId xmlns:a16="http://schemas.microsoft.com/office/drawing/2014/main" id="{9F144388-1BBC-40B8-9FA6-DD527E5EAD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140" y="427395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35" rtl="0" eaLnBrk="1" latinLnBrk="0" hangingPunct="1">
              <a:spcBef>
                <a:spcPct val="0"/>
              </a:spcBef>
              <a:buNone/>
              <a:defRPr lang="en-GB" sz="1456" b="1" i="0" kern="120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253C1CB-8255-4E6F-B64C-56883496DC95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263CBC7A-FE20-4606-86FE-9569F1DB5AC6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33" name="Section Footer">
            <a:extLst>
              <a:ext uri="{FF2B5EF4-FFF2-40B4-BE49-F238E27FC236}">
                <a16:creationId xmlns:a16="http://schemas.microsoft.com/office/drawing/2014/main" id="{F2940F33-40CA-4649-AC2D-4C6B9264A9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20C0859-40E2-4D3C-BE89-4F610DBBC3A2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43" name="Page Number">
            <a:extLst>
              <a:ext uri="{FF2B5EF4-FFF2-40B4-BE49-F238E27FC236}">
                <a16:creationId xmlns:a16="http://schemas.microsoft.com/office/drawing/2014/main" id="{1C5F995B-80BA-46AA-ACC3-01C8F0989A5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EEE0A3E-9A10-466F-B32E-1A677FDB37A6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ection Footer">
            <a:extLst>
              <a:ext uri="{FF2B5EF4-FFF2-40B4-BE49-F238E27FC236}">
                <a16:creationId xmlns:a16="http://schemas.microsoft.com/office/drawing/2014/main" id="{369CBA1C-C66D-4D28-A838-6483C3221A4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6" name="Draft stamp">
            <a:extLst>
              <a:ext uri="{FF2B5EF4-FFF2-40B4-BE49-F238E27FC236}">
                <a16:creationId xmlns:a16="http://schemas.microsoft.com/office/drawing/2014/main" id="{47846176-A57E-4512-934D-96822A0AB8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A2B9837-2DCA-4D4C-B169-E78420A08C63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9744E1C8-DFA4-4844-AE49-081E46107F9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  <p:sp>
        <p:nvSpPr>
          <p:cNvPr id="49" name="Slide Number Placeholder 2">
            <a:extLst>
              <a:ext uri="{FF2B5EF4-FFF2-40B4-BE49-F238E27FC236}">
                <a16:creationId xmlns:a16="http://schemas.microsoft.com/office/drawing/2014/main" id="{B2CB0C75-1980-46A8-BE7E-B0063A93D4D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>
          <a:xfrm>
            <a:off x="7124987" y="4928705"/>
            <a:ext cx="1521229" cy="10287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b="1"/>
          </a:p>
        </p:txBody>
      </p:sp>
    </p:spTree>
    <p:extLst>
      <p:ext uri="{BB962C8B-B14F-4D97-AF65-F5344CB8AC3E}">
        <p14:creationId xmlns:p14="http://schemas.microsoft.com/office/powerpoint/2010/main" val="343256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154230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254C5C5-C314-4717-B74B-3C5E5F74DBEA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D92CBDE2-89B1-4AB1-8DDA-5C3A4FA0C974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44" name="Section Footer">
            <a:extLst>
              <a:ext uri="{FF2B5EF4-FFF2-40B4-BE49-F238E27FC236}">
                <a16:creationId xmlns:a16="http://schemas.microsoft.com/office/drawing/2014/main" id="{678C67E8-3022-4BE5-9CA4-155297C280F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2139" y="4738035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F601483-B713-4CF1-8EB9-1DB4A0BA9ECD}"/>
              </a:ext>
            </a:extLst>
          </p:cNvPr>
          <p:cNvSpPr/>
          <p:nvPr userDrawn="1"/>
        </p:nvSpPr>
        <p:spPr>
          <a:xfrm>
            <a:off x="525724" y="4769062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47" name="Page Number">
            <a:extLst>
              <a:ext uri="{FF2B5EF4-FFF2-40B4-BE49-F238E27FC236}">
                <a16:creationId xmlns:a16="http://schemas.microsoft.com/office/drawing/2014/main" id="{E0DD5AEA-98F5-49D5-8706-C932382C186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8370916" y="4838799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27E39BF-3B8F-47BD-A834-FE8859C2B383}"/>
              </a:ext>
            </a:extLst>
          </p:cNvPr>
          <p:cNvCxnSpPr/>
          <p:nvPr userDrawn="1"/>
        </p:nvCxnSpPr>
        <p:spPr>
          <a:xfrm>
            <a:off x="482139" y="4811411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Section Footer">
            <a:extLst>
              <a:ext uri="{FF2B5EF4-FFF2-40B4-BE49-F238E27FC236}">
                <a16:creationId xmlns:a16="http://schemas.microsoft.com/office/drawing/2014/main" id="{9C36B6A9-B41A-4404-94A4-92BBB932E7A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2139" y="4738035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50" name="Draft stamp">
            <a:extLst>
              <a:ext uri="{FF2B5EF4-FFF2-40B4-BE49-F238E27FC236}">
                <a16:creationId xmlns:a16="http://schemas.microsoft.com/office/drawing/2014/main" id="{EC7B462E-E2E7-4A7B-A30C-724D420ECBD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227025" y="486181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6BB4C25-FAC8-4467-809F-8BBEE6547A78}"/>
              </a:ext>
            </a:extLst>
          </p:cNvPr>
          <p:cNvSpPr/>
          <p:nvPr userDrawn="1"/>
        </p:nvSpPr>
        <p:spPr>
          <a:xfrm>
            <a:off x="487977" y="4859064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ABE5AC1F-B128-4E30-8432-9E5F2A6EA45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958707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8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814B0A3-6B69-4DE5-A54A-B4473F3D463F}"/>
              </a:ext>
            </a:extLst>
          </p:cNvPr>
          <p:cNvSpPr txBox="1"/>
          <p:nvPr userDrawn="1"/>
        </p:nvSpPr>
        <p:spPr>
          <a:xfrm>
            <a:off x="502043" y="4864259"/>
            <a:ext cx="62345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596" b="1" noProof="0">
                <a:solidFill>
                  <a:schemeClr val="bg1"/>
                </a:solidFill>
                <a:latin typeface="+mn-lt"/>
                <a:cs typeface="Arial" pitchFamily="34" charset="0"/>
              </a:rPr>
              <a:t>IFG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9014EF27-915E-4C08-BDDC-F76782653807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A2A7D084-7074-4573-958F-3A66FBA8ED6D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47" name="Section Footer">
            <a:extLst>
              <a:ext uri="{FF2B5EF4-FFF2-40B4-BE49-F238E27FC236}">
                <a16:creationId xmlns:a16="http://schemas.microsoft.com/office/drawing/2014/main" id="{C1D12C56-B959-4B76-A1F6-17F320FDF88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BABF31E-E5A8-4B4D-93C5-6DE998F35340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50" name="Page Number">
            <a:extLst>
              <a:ext uri="{FF2B5EF4-FFF2-40B4-BE49-F238E27FC236}">
                <a16:creationId xmlns:a16="http://schemas.microsoft.com/office/drawing/2014/main" id="{01F7F42C-73FD-4E5C-8C7F-7188116D48E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AEC0339-5F19-4EA8-86DE-2885462C909F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ection Footer">
            <a:extLst>
              <a:ext uri="{FF2B5EF4-FFF2-40B4-BE49-F238E27FC236}">
                <a16:creationId xmlns:a16="http://schemas.microsoft.com/office/drawing/2014/main" id="{4BB1B851-F9A7-42AA-BF1F-0C20E10121D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53" name="Draft stamp">
            <a:extLst>
              <a:ext uri="{FF2B5EF4-FFF2-40B4-BE49-F238E27FC236}">
                <a16:creationId xmlns:a16="http://schemas.microsoft.com/office/drawing/2014/main" id="{A99C1DFD-7A62-45C7-9419-63546FCDE4D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1EEF636-24D3-436C-A6BF-A012EC759642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76039FB2-52AD-4ABB-8DFA-EB140A7CCE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76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81092" y="435522"/>
            <a:ext cx="2628296" cy="977644"/>
          </a:xfrm>
        </p:spPr>
        <p:txBody>
          <a:bodyPr wrap="square" tIns="0" bIns="0" anchor="t">
            <a:spAutoFit/>
          </a:bodyPr>
          <a:lstStyle>
            <a:lvl1pPr algn="l">
              <a:defRPr sz="2118" b="1" i="1" cap="none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Click to add Section Divider Title</a:t>
            </a:r>
          </a:p>
        </p:txBody>
      </p:sp>
      <p:sp>
        <p:nvSpPr>
          <p:cNvPr id="25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3277537" y="660322"/>
            <a:ext cx="5403272" cy="390745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728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6398459-DBD0-46C1-913A-85A33F043086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9D59CD22-6D17-4EA5-979A-B86EB7A9461F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5819E2-D3EE-42A0-860E-0CB72658799F}"/>
              </a:ext>
            </a:extLst>
          </p:cNvPr>
          <p:cNvSpPr txBox="1"/>
          <p:nvPr userDrawn="1"/>
        </p:nvSpPr>
        <p:spPr>
          <a:xfrm>
            <a:off x="502043" y="4864259"/>
            <a:ext cx="62345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596" b="1" noProof="0">
                <a:solidFill>
                  <a:schemeClr val="bg1"/>
                </a:solidFill>
                <a:latin typeface="+mn-lt"/>
                <a:cs typeface="Arial" pitchFamily="34" charset="0"/>
              </a:rPr>
              <a:t>IFG</a:t>
            </a:r>
          </a:p>
        </p:txBody>
      </p:sp>
      <p:sp>
        <p:nvSpPr>
          <p:cNvPr id="33" name="Section Footer">
            <a:extLst>
              <a:ext uri="{FF2B5EF4-FFF2-40B4-BE49-F238E27FC236}">
                <a16:creationId xmlns:a16="http://schemas.microsoft.com/office/drawing/2014/main" id="{DE24EBBC-7125-4B6E-B81F-AFC343FC7E6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9A08129-13D8-4171-B9DA-9BE47757D3DD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36" name="Page Number">
            <a:extLst>
              <a:ext uri="{FF2B5EF4-FFF2-40B4-BE49-F238E27FC236}">
                <a16:creationId xmlns:a16="http://schemas.microsoft.com/office/drawing/2014/main" id="{77477C98-E17A-4105-8AEE-91CEA05E9ED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EF0F6D1-71BC-4CCD-8C5D-A82AD8A2D918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ection Footer">
            <a:extLst>
              <a:ext uri="{FF2B5EF4-FFF2-40B4-BE49-F238E27FC236}">
                <a16:creationId xmlns:a16="http://schemas.microsoft.com/office/drawing/2014/main" id="{B5E0E15B-B9C6-4041-874B-3CAF274BF6A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39" name="Draft stamp">
            <a:extLst>
              <a:ext uri="{FF2B5EF4-FFF2-40B4-BE49-F238E27FC236}">
                <a16:creationId xmlns:a16="http://schemas.microsoft.com/office/drawing/2014/main" id="{BDD00203-5409-475A-AFF6-C1E5AB03CEA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FDF74B6-F5D6-4355-A97A-B1B4D5656E91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D796B75A-3D80-4ABB-BD87-36FA40A8201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23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82139" y="483174"/>
            <a:ext cx="2635136" cy="977644"/>
          </a:xfrm>
        </p:spPr>
        <p:txBody>
          <a:bodyPr wrap="square" tIns="0" bIns="0" anchor="t">
            <a:spAutoFit/>
          </a:bodyPr>
          <a:lstStyle>
            <a:lvl1pPr algn="l">
              <a:defRPr sz="2118" b="1" i="1" cap="none" baseline="0">
                <a:latin typeface="+mj-lt"/>
              </a:defRPr>
            </a:lvl1pPr>
          </a:lstStyle>
          <a:p>
            <a:r>
              <a:rPr lang="en-GB" noProof="0"/>
              <a:t>Click to add Appendix Divider Title</a:t>
            </a:r>
          </a:p>
        </p:txBody>
      </p:sp>
      <p:sp>
        <p:nvSpPr>
          <p:cNvPr id="18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3262911" y="681353"/>
            <a:ext cx="5403272" cy="390705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728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E48D0DE-32DA-41CE-B5F9-12A7A1078BD0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BAEBF051-3F5D-441B-AC52-1D0E8C99127E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EE37EC7-4114-4653-A302-42DB385DDF69}"/>
              </a:ext>
            </a:extLst>
          </p:cNvPr>
          <p:cNvSpPr txBox="1"/>
          <p:nvPr userDrawn="1"/>
        </p:nvSpPr>
        <p:spPr>
          <a:xfrm>
            <a:off x="502043" y="4864259"/>
            <a:ext cx="62345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596" b="1" noProof="0">
                <a:solidFill>
                  <a:schemeClr val="bg1"/>
                </a:solidFill>
                <a:latin typeface="+mn-lt"/>
                <a:cs typeface="Arial" pitchFamily="34" charset="0"/>
              </a:rPr>
              <a:t>IFG</a:t>
            </a:r>
          </a:p>
        </p:txBody>
      </p:sp>
      <p:sp>
        <p:nvSpPr>
          <p:cNvPr id="34" name="Section Footer">
            <a:extLst>
              <a:ext uri="{FF2B5EF4-FFF2-40B4-BE49-F238E27FC236}">
                <a16:creationId xmlns:a16="http://schemas.microsoft.com/office/drawing/2014/main" id="{4E67006F-5027-4D84-B1FD-D609ED69D96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9500659-1297-431D-8805-226C83114B84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52" name="Page Number">
            <a:extLst>
              <a:ext uri="{FF2B5EF4-FFF2-40B4-BE49-F238E27FC236}">
                <a16:creationId xmlns:a16="http://schemas.microsoft.com/office/drawing/2014/main" id="{9C0EDA02-5F15-4B34-BB1A-4A9711F2C43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791A32F-0263-4E87-ACC0-F9D725D805A1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Section Footer">
            <a:extLst>
              <a:ext uri="{FF2B5EF4-FFF2-40B4-BE49-F238E27FC236}">
                <a16:creationId xmlns:a16="http://schemas.microsoft.com/office/drawing/2014/main" id="{727095D3-879A-4237-A754-CD7CDC7C945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55" name="Draft stamp">
            <a:extLst>
              <a:ext uri="{FF2B5EF4-FFF2-40B4-BE49-F238E27FC236}">
                <a16:creationId xmlns:a16="http://schemas.microsoft.com/office/drawing/2014/main" id="{8C1FFF39-C146-441A-9F35-BD0F8D906AA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7E3A3EA-CC8A-4A70-A56B-53DD83814FE0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6FC4EF26-8C11-4A9C-A4FA-43B9377B51C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1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 gl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nner"/>
          <p:cNvSpPr>
            <a:spLocks noGrp="1"/>
          </p:cNvSpPr>
          <p:nvPr>
            <p:ph type="title" hasCustomPrompt="1"/>
          </p:nvPr>
        </p:nvSpPr>
        <p:spPr>
          <a:xfrm>
            <a:off x="482139" y="476815"/>
            <a:ext cx="2635135" cy="556709"/>
          </a:xfrm>
        </p:spPr>
        <p:txBody>
          <a:bodyPr wrap="square" tIns="0" bIns="0" anchor="t">
            <a:noAutofit/>
          </a:bodyPr>
          <a:lstStyle>
            <a:lvl1pPr algn="l">
              <a:defRPr sz="993" b="1" i="0" cap="none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At a glance</a:t>
            </a:r>
          </a:p>
        </p:txBody>
      </p:sp>
      <p:sp>
        <p:nvSpPr>
          <p:cNvPr id="17" name="Text Placeholder"/>
          <p:cNvSpPr>
            <a:spLocks noGrp="1"/>
          </p:cNvSpPr>
          <p:nvPr>
            <p:ph type="body" sz="quarter" idx="30" hasCustomPrompt="1"/>
          </p:nvPr>
        </p:nvSpPr>
        <p:spPr>
          <a:xfrm>
            <a:off x="3259639" y="476814"/>
            <a:ext cx="5402225" cy="55670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742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lang="en-GB" sz="728" b="0" i="1" kern="1200" noProof="0" dirty="0" smtClean="0">
                <a:solidFill>
                  <a:schemeClr val="accent2"/>
                </a:solidFill>
                <a:latin typeface="Georgia" pitchFamily="18" charset="0"/>
                <a:ea typeface="+mn-ea"/>
                <a:cs typeface="+mn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/>
              <a:t>IFG view – Insert text here</a:t>
            </a:r>
          </a:p>
        </p:txBody>
      </p:sp>
      <p:sp>
        <p:nvSpPr>
          <p:cNvPr id="30" name="HeaderTOCPlaceholder"/>
          <p:cNvSpPr txBox="1"/>
          <p:nvPr userDrawn="1">
            <p:custDataLst>
              <p:tags r:id="rId1"/>
            </p:custDataLst>
          </p:nvPr>
        </p:nvSpPr>
        <p:spPr>
          <a:xfrm>
            <a:off x="3258591" y="236787"/>
            <a:ext cx="5403272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482140" y="236785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11" name="Slide Tags" hidden="1"/>
          <p:cNvSpPr txBox="1"/>
          <p:nvPr userDrawn="1"/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sp>
        <p:nvSpPr>
          <p:cNvPr id="19" name="HeaderTOCPlaceholder">
            <a:extLst>
              <a:ext uri="{FF2B5EF4-FFF2-40B4-BE49-F238E27FC236}">
                <a16:creationId xmlns:a16="http://schemas.microsoft.com/office/drawing/2014/main" id="{AA481827-22D9-43BB-B697-C2EECA27112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255820" y="236787"/>
            <a:ext cx="5403272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1" name="Section Header">
            <a:extLst>
              <a:ext uri="{FF2B5EF4-FFF2-40B4-BE49-F238E27FC236}">
                <a16:creationId xmlns:a16="http://schemas.microsoft.com/office/drawing/2014/main" id="{967B4A74-6284-4BCC-8096-5C827C86AAB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2140" y="236785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3" name="HeaderTOCPlaceholder">
            <a:extLst>
              <a:ext uri="{FF2B5EF4-FFF2-40B4-BE49-F238E27FC236}">
                <a16:creationId xmlns:a16="http://schemas.microsoft.com/office/drawing/2014/main" id="{FB3206B9-F4C9-4BF9-9A32-E5B5C505CF4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255819" y="236787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" name="Section Header">
            <a:extLst>
              <a:ext uri="{FF2B5EF4-FFF2-40B4-BE49-F238E27FC236}">
                <a16:creationId xmlns:a16="http://schemas.microsoft.com/office/drawing/2014/main" id="{9604A8D4-E7F2-4BE5-8D41-C9D71CB4788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82140" y="236785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6" name="Section Header">
            <a:extLst>
              <a:ext uri="{FF2B5EF4-FFF2-40B4-BE49-F238E27FC236}">
                <a16:creationId xmlns:a16="http://schemas.microsoft.com/office/drawing/2014/main" id="{6F1D3E84-6F17-4757-A7BD-F31C981565B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52652" y="236787"/>
            <a:ext cx="2788013" cy="90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8792FD6-45DB-4EF6-BC3B-52C4F1ED95EB}"/>
              </a:ext>
            </a:extLst>
          </p:cNvPr>
          <p:cNvCxnSpPr>
            <a:cxnSpLocks/>
          </p:cNvCxnSpPr>
          <p:nvPr userDrawn="1"/>
        </p:nvCxnSpPr>
        <p:spPr>
          <a:xfrm>
            <a:off x="378594" y="1081932"/>
            <a:ext cx="8302214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2DA4596-CD54-4F98-B95A-5D3FC797016F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29FD10C3-B927-4839-9214-FA964F84D4E5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A245CBB-17F2-41DD-A3B4-061E05CABA93}"/>
              </a:ext>
            </a:extLst>
          </p:cNvPr>
          <p:cNvSpPr txBox="1"/>
          <p:nvPr userDrawn="1"/>
        </p:nvSpPr>
        <p:spPr>
          <a:xfrm>
            <a:off x="502043" y="4864259"/>
            <a:ext cx="62345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596" b="1" noProof="0">
                <a:solidFill>
                  <a:schemeClr val="bg1"/>
                </a:solidFill>
                <a:latin typeface="+mn-lt"/>
                <a:cs typeface="Arial" pitchFamily="34" charset="0"/>
              </a:rPr>
              <a:t>IFG</a:t>
            </a:r>
          </a:p>
        </p:txBody>
      </p:sp>
      <p:sp>
        <p:nvSpPr>
          <p:cNvPr id="35" name="Section Footer">
            <a:extLst>
              <a:ext uri="{FF2B5EF4-FFF2-40B4-BE49-F238E27FC236}">
                <a16:creationId xmlns:a16="http://schemas.microsoft.com/office/drawing/2014/main" id="{71CBAFF5-01DF-4E76-9EF5-386F7040569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E2A0F32-2199-4D6B-A52F-39842EEDB56D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53" name="Page Number">
            <a:extLst>
              <a:ext uri="{FF2B5EF4-FFF2-40B4-BE49-F238E27FC236}">
                <a16:creationId xmlns:a16="http://schemas.microsoft.com/office/drawing/2014/main" id="{BF1A4E9F-F1BA-414E-B971-91B8EBBFD17E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2833044-C17C-4824-B396-1E18B09A6476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Section Footer">
            <a:extLst>
              <a:ext uri="{FF2B5EF4-FFF2-40B4-BE49-F238E27FC236}">
                <a16:creationId xmlns:a16="http://schemas.microsoft.com/office/drawing/2014/main" id="{4C6D5A88-B4E1-47EF-8542-3FFCBD68565A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56" name="Draft stamp">
            <a:extLst>
              <a:ext uri="{FF2B5EF4-FFF2-40B4-BE49-F238E27FC236}">
                <a16:creationId xmlns:a16="http://schemas.microsoft.com/office/drawing/2014/main" id="{2834F01E-2122-4507-820C-FCEE3F1D87C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72C206C-8176-4F46-BA7F-0D285D2B048C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482BCEC5-B2E2-4D66-81FE-3E347FFC628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80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 glance 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nner"/>
          <p:cNvSpPr>
            <a:spLocks noGrp="1"/>
          </p:cNvSpPr>
          <p:nvPr>
            <p:ph type="title" hasCustomPrompt="1"/>
          </p:nvPr>
        </p:nvSpPr>
        <p:spPr>
          <a:xfrm>
            <a:off x="482139" y="429162"/>
            <a:ext cx="2635135" cy="556709"/>
          </a:xfrm>
        </p:spPr>
        <p:txBody>
          <a:bodyPr wrap="square" tIns="0" bIns="0" anchor="t">
            <a:noAutofit/>
          </a:bodyPr>
          <a:lstStyle>
            <a:lvl1pPr algn="l">
              <a:defRPr sz="993" b="1" i="0" cap="none">
                <a:solidFill>
                  <a:schemeClr val="accent2"/>
                </a:solidFill>
                <a:latin typeface="+mj-lt"/>
                <a:cs typeface="Arial"/>
              </a:defRPr>
            </a:lvl1pPr>
          </a:lstStyle>
          <a:p>
            <a:r>
              <a:rPr lang="en-GB" noProof="0"/>
              <a:t>At a glance – our views</a:t>
            </a:r>
          </a:p>
        </p:txBody>
      </p:sp>
      <p:sp>
        <p:nvSpPr>
          <p:cNvPr id="17" name="Text Placeholder"/>
          <p:cNvSpPr>
            <a:spLocks noGrp="1"/>
          </p:cNvSpPr>
          <p:nvPr>
            <p:ph type="body" sz="quarter" idx="30" hasCustomPrompt="1"/>
          </p:nvPr>
        </p:nvSpPr>
        <p:spPr>
          <a:xfrm>
            <a:off x="3259638" y="429162"/>
            <a:ext cx="5403272" cy="55670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742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lang="en-GB" sz="728" b="0" i="1" kern="1200" noProof="0" dirty="0" smtClean="0">
                <a:solidFill>
                  <a:schemeClr val="accent2"/>
                </a:solidFill>
                <a:latin typeface="Georgia" pitchFamily="18" charset="0"/>
                <a:ea typeface="+mn-ea"/>
                <a:cs typeface="+mn-cs"/>
              </a:defRPr>
            </a:lvl1pPr>
          </a:lstStyle>
          <a:p>
            <a:pPr lvl="0" algn="l" defTabSz="674235" rtl="0" eaLnBrk="1" latinLnBrk="0" hangingPunct="1">
              <a:spcBef>
                <a:spcPct val="0"/>
              </a:spcBef>
              <a:buNone/>
            </a:pPr>
            <a:r>
              <a:rPr lang="en-GB"/>
              <a:t>Insert text her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quarter" idx="31"/>
          </p:nvPr>
        </p:nvSpPr>
        <p:spPr>
          <a:xfrm>
            <a:off x="482139" y="1084707"/>
            <a:ext cx="2635135" cy="357542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quarter" idx="32"/>
          </p:nvPr>
        </p:nvSpPr>
        <p:spPr>
          <a:xfrm>
            <a:off x="3258591" y="1084707"/>
            <a:ext cx="2635135" cy="357542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3" name="Content Placeholder 4"/>
          <p:cNvSpPr>
            <a:spLocks noGrp="1"/>
          </p:cNvSpPr>
          <p:nvPr>
            <p:ph sz="quarter" idx="33"/>
          </p:nvPr>
        </p:nvSpPr>
        <p:spPr>
          <a:xfrm>
            <a:off x="6026730" y="1084706"/>
            <a:ext cx="2635135" cy="359481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HeaderTOCPlaceholder"/>
          <p:cNvSpPr txBox="1"/>
          <p:nvPr userDrawn="1">
            <p:custDataLst>
              <p:tags r:id="rId1"/>
            </p:custDataLst>
          </p:nvPr>
        </p:nvSpPr>
        <p:spPr>
          <a:xfrm>
            <a:off x="3258591" y="189135"/>
            <a:ext cx="5403272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482140" y="189132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2999514" y="200540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04/09/2020 C:\Users\Anton Hartanto\Documents\Project\Move 2\Report\NMU\P. Move 2 - NMU Draft documentt Report - 20200904.pptx</a:t>
            </a:r>
          </a:p>
        </p:txBody>
      </p:sp>
      <p:sp>
        <p:nvSpPr>
          <p:cNvPr id="11" name="Slide Tags" hidden="1"/>
          <p:cNvSpPr txBox="1"/>
          <p:nvPr userDrawn="1"/>
        </p:nvSpPr>
        <p:spPr>
          <a:xfrm>
            <a:off x="2" y="151282"/>
            <a:ext cx="1454728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8" noProof="1"/>
              <a:t>Slide Tags</a:t>
            </a:r>
          </a:p>
        </p:txBody>
      </p:sp>
      <p:sp>
        <p:nvSpPr>
          <p:cNvPr id="23" name="HeaderTOCPlaceholder">
            <a:extLst>
              <a:ext uri="{FF2B5EF4-FFF2-40B4-BE49-F238E27FC236}">
                <a16:creationId xmlns:a16="http://schemas.microsoft.com/office/drawing/2014/main" id="{A13487DD-8BC3-4922-A083-1478F5D92DA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255820" y="189135"/>
            <a:ext cx="5403272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" name="Section Header">
            <a:extLst>
              <a:ext uri="{FF2B5EF4-FFF2-40B4-BE49-F238E27FC236}">
                <a16:creationId xmlns:a16="http://schemas.microsoft.com/office/drawing/2014/main" id="{B63DEC51-2B8C-44AA-B04D-16031AB3B56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2140" y="189132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6" name="HeaderTOCPlaceholder">
            <a:extLst>
              <a:ext uri="{FF2B5EF4-FFF2-40B4-BE49-F238E27FC236}">
                <a16:creationId xmlns:a16="http://schemas.microsoft.com/office/drawing/2014/main" id="{B3A810D6-ED76-4A19-9413-7BD246E5B4D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255819" y="189135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>
            <a:extLst>
              <a:ext uri="{FF2B5EF4-FFF2-40B4-BE49-F238E27FC236}">
                <a16:creationId xmlns:a16="http://schemas.microsoft.com/office/drawing/2014/main" id="{F5003D8B-5C9E-476F-AC64-DA9629EADD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82140" y="189132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39" name="Section Header">
            <a:extLst>
              <a:ext uri="{FF2B5EF4-FFF2-40B4-BE49-F238E27FC236}">
                <a16:creationId xmlns:a16="http://schemas.microsoft.com/office/drawing/2014/main" id="{7F8AC63D-4696-4C4C-94EC-3564C745D3A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52652" y="189135"/>
            <a:ext cx="2788013" cy="90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29E595D-CB9E-40A5-8305-64501956801F}"/>
              </a:ext>
            </a:extLst>
          </p:cNvPr>
          <p:cNvCxnSpPr>
            <a:cxnSpLocks/>
          </p:cNvCxnSpPr>
          <p:nvPr userDrawn="1"/>
        </p:nvCxnSpPr>
        <p:spPr>
          <a:xfrm>
            <a:off x="378594" y="1034280"/>
            <a:ext cx="8302214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HeaderTOCPlaceholder">
            <a:extLst>
              <a:ext uri="{FF2B5EF4-FFF2-40B4-BE49-F238E27FC236}">
                <a16:creationId xmlns:a16="http://schemas.microsoft.com/office/drawing/2014/main" id="{F4EEAB5D-8CC2-4108-9D6E-1AF205257549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3258591" y="236787"/>
            <a:ext cx="5403272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6" name="Section Header">
            <a:extLst>
              <a:ext uri="{FF2B5EF4-FFF2-40B4-BE49-F238E27FC236}">
                <a16:creationId xmlns:a16="http://schemas.microsoft.com/office/drawing/2014/main" id="{2677A78C-69AA-468C-969F-2DA6DD7B3786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482140" y="236785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37" name="HeaderTOCPlaceholder">
            <a:extLst>
              <a:ext uri="{FF2B5EF4-FFF2-40B4-BE49-F238E27FC236}">
                <a16:creationId xmlns:a16="http://schemas.microsoft.com/office/drawing/2014/main" id="{43BEB253-0735-4AF0-B0D4-67C89D225DBA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3255820" y="236787"/>
            <a:ext cx="5403272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8" name="Section Header">
            <a:extLst>
              <a:ext uri="{FF2B5EF4-FFF2-40B4-BE49-F238E27FC236}">
                <a16:creationId xmlns:a16="http://schemas.microsoft.com/office/drawing/2014/main" id="{C3ADA56C-3552-4E7A-8AE4-13F0B54785C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82140" y="236785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56" name="HeaderTOCPlaceholder">
            <a:extLst>
              <a:ext uri="{FF2B5EF4-FFF2-40B4-BE49-F238E27FC236}">
                <a16:creationId xmlns:a16="http://schemas.microsoft.com/office/drawing/2014/main" id="{1128A549-31A8-4E5F-AED6-BA9461D0A36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3255819" y="236787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7" name="Section Header">
            <a:extLst>
              <a:ext uri="{FF2B5EF4-FFF2-40B4-BE49-F238E27FC236}">
                <a16:creationId xmlns:a16="http://schemas.microsoft.com/office/drawing/2014/main" id="{5847BB24-30DD-4B68-A937-CEF1AD33CD0A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482140" y="236785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58" name="Section Header">
            <a:extLst>
              <a:ext uri="{FF2B5EF4-FFF2-40B4-BE49-F238E27FC236}">
                <a16:creationId xmlns:a16="http://schemas.microsoft.com/office/drawing/2014/main" id="{608FE687-38B3-4FEE-A0F5-221A379BF4FE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452652" y="236787"/>
            <a:ext cx="2788013" cy="90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9195402-3315-43B7-95AD-CCED9A4384EC}"/>
              </a:ext>
            </a:extLst>
          </p:cNvPr>
          <p:cNvCxnSpPr/>
          <p:nvPr userDrawn="1"/>
        </p:nvCxnSpPr>
        <p:spPr>
          <a:xfrm>
            <a:off x="378594" y="332090"/>
            <a:ext cx="830221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0F097E66-435C-46FF-ACBC-1EFF87A78B3E}"/>
              </a:ext>
            </a:extLst>
          </p:cNvPr>
          <p:cNvSpPr/>
          <p:nvPr userDrawn="1"/>
        </p:nvSpPr>
        <p:spPr>
          <a:xfrm>
            <a:off x="378595" y="240881"/>
            <a:ext cx="8303657" cy="30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901A19D-462A-4A66-B5FE-63C4F3CE16E9}"/>
              </a:ext>
            </a:extLst>
          </p:cNvPr>
          <p:cNvSpPr txBox="1"/>
          <p:nvPr userDrawn="1"/>
        </p:nvSpPr>
        <p:spPr>
          <a:xfrm>
            <a:off x="502043" y="4864259"/>
            <a:ext cx="62345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596" b="1" noProof="0">
                <a:solidFill>
                  <a:schemeClr val="bg1"/>
                </a:solidFill>
                <a:latin typeface="+mn-lt"/>
                <a:cs typeface="Arial" pitchFamily="34" charset="0"/>
              </a:rPr>
              <a:t>IFG</a:t>
            </a:r>
          </a:p>
        </p:txBody>
      </p:sp>
      <p:sp>
        <p:nvSpPr>
          <p:cNvPr id="62" name="Section Footer">
            <a:extLst>
              <a:ext uri="{FF2B5EF4-FFF2-40B4-BE49-F238E27FC236}">
                <a16:creationId xmlns:a16="http://schemas.microsoft.com/office/drawing/2014/main" id="{D9051607-A7EB-4634-B45E-99C1E1BDFBDE}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EED199-D8D9-48D7-8A3D-66EE3360F39D}"/>
              </a:ext>
            </a:extLst>
          </p:cNvPr>
          <p:cNvSpPr/>
          <p:nvPr userDrawn="1"/>
        </p:nvSpPr>
        <p:spPr>
          <a:xfrm>
            <a:off x="525724" y="4699444"/>
            <a:ext cx="8180771" cy="2086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8">
              <a:solidFill>
                <a:schemeClr val="tx2"/>
              </a:solidFill>
            </a:endParaRPr>
          </a:p>
        </p:txBody>
      </p:sp>
      <p:sp>
        <p:nvSpPr>
          <p:cNvPr id="65" name="Page Number">
            <a:extLst>
              <a:ext uri="{FF2B5EF4-FFF2-40B4-BE49-F238E27FC236}">
                <a16:creationId xmlns:a16="http://schemas.microsoft.com/office/drawing/2014/main" id="{469A2E27-07A6-404E-8B9A-E0AFF53A9211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8370916" y="4769180"/>
            <a:ext cx="288177" cy="916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96" noProof="1">
              <a:solidFill>
                <a:schemeClr val="tx2"/>
              </a:solidFill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4404D88-98B8-4AE5-8125-BCEB1C4D4ADE}"/>
              </a:ext>
            </a:extLst>
          </p:cNvPr>
          <p:cNvCxnSpPr/>
          <p:nvPr userDrawn="1"/>
        </p:nvCxnSpPr>
        <p:spPr>
          <a:xfrm>
            <a:off x="482139" y="4741792"/>
            <a:ext cx="8179725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Section Footer">
            <a:extLst>
              <a:ext uri="{FF2B5EF4-FFF2-40B4-BE49-F238E27FC236}">
                <a16:creationId xmlns:a16="http://schemas.microsoft.com/office/drawing/2014/main" id="{A1FEE503-23EA-484F-9234-C141B65759A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482139" y="4668416"/>
            <a:ext cx="263513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96" noProof="1">
              <a:solidFill>
                <a:schemeClr val="tx2"/>
              </a:solidFill>
            </a:endParaRPr>
          </a:p>
        </p:txBody>
      </p:sp>
      <p:sp>
        <p:nvSpPr>
          <p:cNvPr id="68" name="Draft stamp">
            <a:extLst>
              <a:ext uri="{FF2B5EF4-FFF2-40B4-BE49-F238E27FC236}">
                <a16:creationId xmlns:a16="http://schemas.microsoft.com/office/drawing/2014/main" id="{857D92E1-43D5-46DD-839C-23419AD0C86E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227025" y="4792197"/>
            <a:ext cx="1936865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96" b="1" noProof="1">
                <a:solidFill>
                  <a:schemeClr val="tx1">
                    <a:lumMod val="50000"/>
                    <a:lumOff val="50000"/>
                  </a:schemeClr>
                </a:solidFill>
              </a:rPr>
              <a:t>Draft documen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C97C509-06C0-4675-BDBD-2D16679B5137}"/>
              </a:ext>
            </a:extLst>
          </p:cNvPr>
          <p:cNvSpPr/>
          <p:nvPr userDrawn="1"/>
        </p:nvSpPr>
        <p:spPr>
          <a:xfrm>
            <a:off x="487977" y="4789446"/>
            <a:ext cx="1647871" cy="16342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596" b="1">
                <a:solidFill>
                  <a:schemeClr val="tx1">
                    <a:lumMod val="50000"/>
                    <a:lumOff val="50000"/>
                  </a:schemeClr>
                </a:solidFill>
              </a:rPr>
              <a:t>Strictly private and confidential</a:t>
            </a: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D37A7226-B50F-443A-B963-5E625DB1FBC0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46" y="4889088"/>
            <a:ext cx="189176" cy="10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445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1_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F1323A1-38E7-0625-87EF-221A3DE5D65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575285313"/>
              </p:ext>
            </p:extLst>
          </p:nvPr>
        </p:nvGraphicFramePr>
        <p:xfrm>
          <a:off x="3025422" y="737384"/>
          <a:ext cx="5904089" cy="4233697"/>
        </p:xfrm>
        <a:graphic>
          <a:graphicData uri="http://schemas.openxmlformats.org/drawingml/2006/table">
            <a:tbl>
              <a:tblPr/>
              <a:tblGrid>
                <a:gridCol w="975923">
                  <a:extLst>
                    <a:ext uri="{9D8B030D-6E8A-4147-A177-3AD203B41FA5}">
                      <a16:colId xmlns:a16="http://schemas.microsoft.com/office/drawing/2014/main" val="389181004"/>
                    </a:ext>
                  </a:extLst>
                </a:gridCol>
                <a:gridCol w="1486299">
                  <a:extLst>
                    <a:ext uri="{9D8B030D-6E8A-4147-A177-3AD203B41FA5}">
                      <a16:colId xmlns:a16="http://schemas.microsoft.com/office/drawing/2014/main" val="1712190242"/>
                    </a:ext>
                  </a:extLst>
                </a:gridCol>
                <a:gridCol w="1759077">
                  <a:extLst>
                    <a:ext uri="{9D8B030D-6E8A-4147-A177-3AD203B41FA5}">
                      <a16:colId xmlns:a16="http://schemas.microsoft.com/office/drawing/2014/main" val="1012182211"/>
                    </a:ext>
                  </a:extLst>
                </a:gridCol>
                <a:gridCol w="1682790">
                  <a:extLst>
                    <a:ext uri="{9D8B030D-6E8A-4147-A177-3AD203B41FA5}">
                      <a16:colId xmlns:a16="http://schemas.microsoft.com/office/drawing/2014/main" val="3951246793"/>
                    </a:ext>
                  </a:extLst>
                </a:gridCol>
              </a:tblGrid>
              <a:tr h="2647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YWOR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JELASAN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’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D" sz="9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ON’TS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2C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534716"/>
                  </a:ext>
                </a:extLst>
              </a:tr>
              <a:tr h="795376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RUSTED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enuh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itme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da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ua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ilik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selara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nt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kat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Tindak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lam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ayan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lan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itme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foku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n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pad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nyaman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ndir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h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amp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lampau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hal-h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d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wenangannya</a:t>
                      </a:r>
                      <a:endParaRPr lang="en-ID" sz="9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299867"/>
                  </a:ext>
                </a:extLst>
              </a:tr>
              <a:tr h="1011744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RANSPARANT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edepan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ransparan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lam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gal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spe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proses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isiko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upu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munik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komunikas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siko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ungki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uncu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uk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ad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next process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hingg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pat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tentu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angkah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itigasiny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ola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mp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l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uk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ingkat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ualitas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Bersama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877927"/>
                  </a:ext>
                </a:extLst>
              </a:tr>
              <a:tr h="1036927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COMPLI-ANCE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pegang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gu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ad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GCG, ESG, ta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nil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de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t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usah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lan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GCG dan ES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rt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jad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ta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nil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ode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t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Perusaha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bag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dikator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tam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ngambil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utu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professional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utup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langgar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laku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oleh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r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aren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rtimba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el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785831"/>
                  </a:ext>
                </a:extLst>
              </a:tr>
              <a:tr h="817000"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1" i="1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QUITY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ti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ins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LRT Jakarta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interak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car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di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luru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iha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internal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upu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ksterna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pertimbang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butuh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sah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da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 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m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presi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sempat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esua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sah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udah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oleh orang lai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alam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ekerja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rsikap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ida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dil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pad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rganisa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ng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gaba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esempat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beri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untu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nunjukkan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otens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dan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inerja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rbaik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 yang </a:t>
                      </a:r>
                      <a:r>
                        <a:rPr lang="en-ID" sz="900" b="0" dirty="0" err="1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imiliki</a:t>
                      </a:r>
                      <a:r>
                        <a:rPr lang="en-ID" sz="900" b="0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.  </a:t>
                      </a:r>
                    </a:p>
                  </a:txBody>
                  <a:tcPr marL="4619" marR="461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538823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E67F7EC-014F-35AB-5C04-7F10B3B1192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8035" t="53214" r="51797" b="23167"/>
          <a:stretch>
            <a:fillRect/>
          </a:stretch>
        </p:blipFill>
        <p:spPr>
          <a:xfrm>
            <a:off x="797194" y="737384"/>
            <a:ext cx="1108954" cy="14489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012E22D-B076-35D1-7263-AA8380793671}"/>
              </a:ext>
            </a:extLst>
          </p:cNvPr>
          <p:cNvSpPr txBox="1"/>
          <p:nvPr userDrawn="1"/>
        </p:nvSpPr>
        <p:spPr>
          <a:xfrm>
            <a:off x="349242" y="2653409"/>
            <a:ext cx="241455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Bertindak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konsiste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eng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nila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moral,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nila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rusaha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,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kode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etik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, dan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hat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Nurani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eng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intens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negakk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kebenar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dalam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melayani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pelanggan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 internal dan </a:t>
            </a:r>
            <a:r>
              <a:rPr kumimoji="0" lang="en-ID" sz="1000" b="1" i="1" u="none" strike="noStrike" kern="0" cap="none" spc="0" normalizeH="0" baseline="0" noProof="0" dirty="0" err="1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eksternal</a:t>
            </a:r>
            <a:r>
              <a:rPr kumimoji="0" lang="en-ID" sz="1000" b="1" i="1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10000"/>
                  </a:srgbClr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  <a:sym typeface="Arial"/>
              </a:rPr>
              <a:t>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D" sz="1000" b="0" i="0" u="none" strike="noStrike" kern="0" cap="none" spc="0" normalizeH="0" baseline="0" noProof="0" dirty="0" err="1">
              <a:ln>
                <a:noFill/>
              </a:ln>
              <a:solidFill>
                <a:srgbClr val="212121">
                  <a:lumMod val="10000"/>
                </a:srgbClr>
              </a:solidFill>
              <a:effectLst/>
              <a:uLnTx/>
              <a:uFillTx/>
              <a:latin typeface="Poppins" pitchFamily="2" charset="77"/>
              <a:cs typeface="Poppins" pitchFamily="2" charset="77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4AD98F-97D2-40DA-0C51-E2237CF5AF18}"/>
              </a:ext>
            </a:extLst>
          </p:cNvPr>
          <p:cNvSpPr txBox="1"/>
          <p:nvPr userDrawn="1"/>
        </p:nvSpPr>
        <p:spPr>
          <a:xfrm>
            <a:off x="349242" y="2186303"/>
            <a:ext cx="25845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EE272E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JUJUR</a:t>
            </a:r>
          </a:p>
        </p:txBody>
      </p:sp>
    </p:spTree>
    <p:extLst>
      <p:ext uri="{BB962C8B-B14F-4D97-AF65-F5344CB8AC3E}">
        <p14:creationId xmlns:p14="http://schemas.microsoft.com/office/powerpoint/2010/main" val="7617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3" y="445451"/>
            <a:ext cx="24046" cy="101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662" noProof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Confidentiality Stamp"/>
          <p:cNvSpPr txBox="1"/>
          <p:nvPr userDrawn="1">
            <p:custDataLst>
              <p:tags r:id="rId2"/>
            </p:custDataLst>
          </p:nvPr>
        </p:nvSpPr>
        <p:spPr>
          <a:xfrm>
            <a:off x="482140" y="2468882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662" i="1" noProof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4" name="Draft Stamp"/>
          <p:cNvSpPr txBox="1"/>
          <p:nvPr userDrawn="1">
            <p:custDataLst>
              <p:tags r:id="rId3"/>
            </p:custDataLst>
          </p:nvPr>
        </p:nvSpPr>
        <p:spPr bwMode="black">
          <a:xfrm>
            <a:off x="482139" y="2674620"/>
            <a:ext cx="1246909" cy="1935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662" b="1" i="1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40" y="2874310"/>
            <a:ext cx="1113905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662" i="1">
              <a:latin typeface="Georgia" pitchFamily="18" charset="0"/>
            </a:endParaRP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346365" y="2378113"/>
            <a:ext cx="1246909" cy="95294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34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482140" y="3073999"/>
            <a:ext cx="1113905" cy="859267"/>
          </a:xfrm>
        </p:spPr>
        <p:txBody>
          <a:bodyPr/>
          <a:lstStyle>
            <a:lvl1pPr>
              <a:defRPr sz="662" i="1"/>
            </a:lvl1pPr>
          </a:lstStyle>
          <a:p>
            <a:pPr lvl="0"/>
            <a:r>
              <a:rPr lang="en-GB"/>
              <a:t>Click to enter text</a:t>
            </a:r>
          </a:p>
        </p:txBody>
      </p:sp>
      <p:sp>
        <p:nvSpPr>
          <p:cNvPr id="36" name="Cover image"/>
          <p:cNvSpPr txBox="1"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1731213" y="2375718"/>
            <a:ext cx="6109027" cy="211791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02270">
              <a:spcAft>
                <a:spcPts val="664"/>
              </a:spcAft>
            </a:pPr>
            <a:endParaRPr lang="en-GB" sz="1456">
              <a:latin typeface="Georgia" pitchFamily="18" charset="0"/>
            </a:endParaRPr>
          </a:p>
        </p:txBody>
      </p:sp>
      <p:sp>
        <p:nvSpPr>
          <p:cNvPr id="33" name="Report Title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 bwMode="white">
          <a:xfrm>
            <a:off x="1869837" y="834512"/>
            <a:ext cx="5403272" cy="357983"/>
          </a:xfrm>
        </p:spPr>
        <p:txBody>
          <a:bodyPr vert="horz" lIns="0" tIns="0" rIns="0" bIns="64008" rtlCol="0" anchor="t" anchorCtr="0">
            <a:spAutoFit/>
          </a:bodyPr>
          <a:lstStyle>
            <a:lvl1pPr algn="l" defTabSz="6742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37" name="Report Subtitle"/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 bwMode="white">
          <a:xfrm>
            <a:off x="1869837" y="1178057"/>
            <a:ext cx="5403272" cy="293293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18" baseline="0">
                <a:solidFill>
                  <a:schemeClr val="bg1"/>
                </a:solidFill>
                <a:latin typeface="+mj-lt"/>
              </a:defRPr>
            </a:lvl1pPr>
            <a:lvl2pPr marL="337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4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6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77178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51922" y="1794904"/>
            <a:ext cx="5292080" cy="1080121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>
                <a:ea typeface="맑은 고딕" pitchFamily="50" charset="-127"/>
              </a:rPr>
              <a:t>FREE </a:t>
            </a:r>
          </a:p>
          <a:p>
            <a:r>
              <a:rPr lang="en-US" altLang="ko-KR">
                <a:ea typeface="맑은 고딕" pitchFamily="50" charset="-127"/>
              </a:rPr>
              <a:t>PPT TEMPLATES</a:t>
            </a:r>
            <a:endParaRPr lang="en-US" altLang="ko-KR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51773" y="2947030"/>
            <a:ext cx="5292080" cy="48881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en-US" altLang="ko-KR" b="1"/>
              <a:t>INSERT THE TITLE </a:t>
            </a:r>
          </a:p>
          <a:p>
            <a:pPr>
              <a:spcBef>
                <a:spcPts val="0"/>
              </a:spcBef>
              <a:defRPr/>
            </a:pPr>
            <a:r>
              <a:rPr lang="en-US" altLang="ko-KR" b="1"/>
              <a:t>OF YOUR PRESENTATION HERE</a:t>
            </a:r>
            <a:endParaRPr lang="en-US" altLang="ko-KR"/>
          </a:p>
        </p:txBody>
      </p:sp>
      <p:pic>
        <p:nvPicPr>
          <p:cNvPr id="1026" name="Picture 2" descr="E:\002-KIMS BUSINESS\007-02-Fullslidesppt-Contents\20161228\02-edu\bulb-item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641" y="657349"/>
            <a:ext cx="1765300" cy="391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3258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572243"/>
            <a:ext cx="9144000" cy="5760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Thank you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-148" y="4148307"/>
            <a:ext cx="9144000" cy="2880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Insert the title of your subtitle Here</a:t>
            </a:r>
          </a:p>
        </p:txBody>
      </p:sp>
      <p:sp>
        <p:nvSpPr>
          <p:cNvPr id="4" name="Oval 3"/>
          <p:cNvSpPr/>
          <p:nvPr userDrawn="1"/>
        </p:nvSpPr>
        <p:spPr>
          <a:xfrm>
            <a:off x="3311862" y="737643"/>
            <a:ext cx="2520280" cy="2520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/>
          </a:p>
        </p:txBody>
      </p:sp>
      <p:pic>
        <p:nvPicPr>
          <p:cNvPr id="5" name="Picture 2" descr="E:\002-KIMS BUSINESS\007-02-Fullslidesppt-Contents\20161228\02-edu\bulb-item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2353" y="1139212"/>
            <a:ext cx="819298" cy="1818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451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200">
                <a:solidFill>
                  <a:srgbClr val="00338D"/>
                </a:solidFill>
                <a:latin typeface="Univers 45 Light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1339" y="152897"/>
            <a:ext cx="7930569" cy="126900"/>
          </a:xfrm>
          <a:prstGeom prst="rect">
            <a:avLst/>
          </a:prstGeom>
        </p:spPr>
        <p:txBody>
          <a:bodyPr lIns="0" anchor="ctr"/>
          <a:lstStyle>
            <a:lvl1pPr>
              <a:spcAft>
                <a:spcPts val="0"/>
              </a:spcAft>
              <a:defRPr sz="750">
                <a:solidFill>
                  <a:srgbClr val="00338D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25572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51">
              <a:spcBef>
                <a:spcPts val="225"/>
              </a:spcBef>
              <a:spcAft>
                <a:spcPts val="225"/>
              </a:spcAft>
            </a:pPr>
            <a:endParaRPr lang="en-US" sz="1875" b="1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2382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51"/>
            <a:endParaRPr lang="en-US" sz="825">
              <a:solidFill>
                <a:srgbClr val="F0F0F0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3" y="129159"/>
            <a:ext cx="5939028" cy="14257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accent6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3" y="427222"/>
            <a:ext cx="5939028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>
                <a:solidFill>
                  <a:schemeClr val="accent6">
                    <a:lumMod val="10000"/>
                  </a:schemeClr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3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51"/>
            <a:r>
              <a:rPr lang="en-US" sz="600">
                <a:solidFill>
                  <a:srgbClr val="333333"/>
                </a:solidFill>
              </a:rPr>
              <a:t>Source: …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4881" y="0"/>
            <a:ext cx="920942" cy="51143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77087"/>
            <a:ext cx="2228850" cy="1666414"/>
          </a:xfrm>
          <a:prstGeom prst="rect">
            <a:avLst/>
          </a:prstGeom>
        </p:spPr>
      </p:pic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713845" y="4751875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DE81BDF-00BE-4F84-B490-15AF6D371514}" type="slidenum">
              <a:rPr lang="id-ID" sz="900" smtClean="0"/>
              <a:pPr/>
              <a:t>‹#›</a:t>
            </a:fld>
            <a:endParaRPr lang="id-ID" sz="900"/>
          </a:p>
        </p:txBody>
      </p:sp>
    </p:spTree>
    <p:extLst>
      <p:ext uri="{BB962C8B-B14F-4D97-AF65-F5344CB8AC3E}">
        <p14:creationId xmlns:p14="http://schemas.microsoft.com/office/powerpoint/2010/main" val="151029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51">
              <a:spcBef>
                <a:spcPts val="225"/>
              </a:spcBef>
              <a:spcAft>
                <a:spcPts val="225"/>
              </a:spcAft>
            </a:pPr>
            <a:endParaRPr lang="en-US" sz="1875" b="1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51"/>
            <a:endParaRPr lang="en-US" sz="825">
              <a:solidFill>
                <a:srgbClr val="F0F0F0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3" y="129159"/>
            <a:ext cx="3799332" cy="14257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accent6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3" y="427222"/>
            <a:ext cx="3799332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>
                <a:solidFill>
                  <a:schemeClr val="accent6">
                    <a:lumMod val="10000"/>
                  </a:schemeClr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3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51"/>
            <a:r>
              <a:rPr lang="en-US" sz="600">
                <a:solidFill>
                  <a:srgbClr val="333333"/>
                </a:solidFill>
              </a:rPr>
              <a:t>Source: …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4881" y="0"/>
            <a:ext cx="920942" cy="51143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77087"/>
            <a:ext cx="2228850" cy="1666414"/>
          </a:xfrm>
          <a:prstGeom prst="rect">
            <a:avLst/>
          </a:prstGeom>
        </p:spPr>
      </p:pic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713845" y="4751875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DE81BDF-00BE-4F84-B490-15AF6D371514}" type="slidenum">
              <a:rPr lang="id-ID" sz="900" smtClean="0"/>
              <a:pPr/>
              <a:t>‹#›</a:t>
            </a:fld>
            <a:endParaRPr lang="id-ID" sz="900"/>
          </a:p>
        </p:txBody>
      </p:sp>
    </p:spTree>
    <p:extLst>
      <p:ext uri="{BB962C8B-B14F-4D97-AF65-F5344CB8AC3E}">
        <p14:creationId xmlns:p14="http://schemas.microsoft.com/office/powerpoint/2010/main" val="2692511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51">
              <a:spcBef>
                <a:spcPts val="225"/>
              </a:spcBef>
              <a:spcAft>
                <a:spcPts val="225"/>
              </a:spcAft>
            </a:pPr>
            <a:endParaRPr lang="en-US" sz="1875" b="1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51"/>
            <a:endParaRPr lang="en-US" sz="825">
              <a:solidFill>
                <a:srgbClr val="F0F0F0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9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6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>
                <a:solidFill>
                  <a:schemeClr val="accent6">
                    <a:lumMod val="10000"/>
                  </a:schemeClr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3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51"/>
            <a:r>
              <a:rPr lang="en-US" sz="600">
                <a:solidFill>
                  <a:srgbClr val="333333"/>
                </a:solidFill>
              </a:rPr>
              <a:t>Source: …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4881" y="0"/>
            <a:ext cx="920942" cy="51143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77087"/>
            <a:ext cx="2228850" cy="1666414"/>
          </a:xfrm>
          <a:prstGeom prst="rect">
            <a:avLst/>
          </a:prstGeom>
        </p:spPr>
      </p:pic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713845" y="4751875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DE81BDF-00BE-4F84-B490-15AF6D371514}" type="slidenum">
              <a:rPr lang="id-ID" sz="900" smtClean="0"/>
              <a:pPr/>
              <a:t>‹#›</a:t>
            </a:fld>
            <a:endParaRPr lang="id-ID" sz="900"/>
          </a:p>
        </p:txBody>
      </p:sp>
    </p:spTree>
    <p:extLst>
      <p:ext uri="{BB962C8B-B14F-4D97-AF65-F5344CB8AC3E}">
        <p14:creationId xmlns:p14="http://schemas.microsoft.com/office/powerpoint/2010/main" val="64225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72" imgH="588" progId="TCLayout.ActiveDocument.1">
                  <p:embed/>
                </p:oleObj>
              </mc:Choice>
              <mc:Fallback>
                <p:oleObj name="think-cell Slide" r:id="rId8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51">
              <a:spcBef>
                <a:spcPts val="225"/>
              </a:spcBef>
              <a:spcAft>
                <a:spcPts val="225"/>
              </a:spcAft>
            </a:pPr>
            <a:endParaRPr lang="en-US" sz="1875" b="1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14257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accent6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51"/>
            <a:endParaRPr lang="en-US" sz="825">
              <a:solidFill>
                <a:srgbClr val="F0F0F0"/>
              </a:solidFill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7222"/>
            <a:ext cx="52257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>
                <a:solidFill>
                  <a:schemeClr val="accent6">
                    <a:lumMod val="10000"/>
                  </a:schemeClr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3" y="4876253"/>
            <a:ext cx="5225797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51"/>
            <a:r>
              <a:rPr lang="en-US" sz="600">
                <a:solidFill>
                  <a:srgbClr val="333333"/>
                </a:solidFill>
              </a:rPr>
              <a:t>Source: …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4881" y="0"/>
            <a:ext cx="920942" cy="51143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77087"/>
            <a:ext cx="2228850" cy="1666414"/>
          </a:xfrm>
          <a:prstGeom prst="rect">
            <a:avLst/>
          </a:prstGeom>
        </p:spPr>
      </p:pic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713845" y="4751875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DE81BDF-00BE-4F84-B490-15AF6D371514}" type="slidenum">
              <a:rPr lang="id-ID" sz="900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id-ID" sz="900">
              <a:solidFill>
                <a:srgbClr val="33333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379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35">
              <a:spcBef>
                <a:spcPts val="225"/>
              </a:spcBef>
              <a:spcAft>
                <a:spcPts val="225"/>
              </a:spcAft>
            </a:pPr>
            <a:endParaRPr lang="en-US" sz="1875" b="1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3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35"/>
            <a:r>
              <a:rPr lang="en-US" sz="600">
                <a:solidFill>
                  <a:srgbClr val="333333"/>
                </a:solidFill>
              </a:rPr>
              <a:t>Source: …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4880" y="0"/>
            <a:ext cx="920942" cy="51143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77087"/>
            <a:ext cx="2228850" cy="1666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777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3/4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clock&#10;&#10;Description automatically generated">
            <a:extLst>
              <a:ext uri="{FF2B5EF4-FFF2-40B4-BE49-F238E27FC236}">
                <a16:creationId xmlns:a16="http://schemas.microsoft.com/office/drawing/2014/main" id="{38138F7C-9BD9-C847-B098-26D1742CE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1946"/>
          <a:stretch/>
        </p:blipFill>
        <p:spPr>
          <a:xfrm>
            <a:off x="2009632" y="0"/>
            <a:ext cx="7134368" cy="51435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35">
              <a:spcBef>
                <a:spcPts val="225"/>
              </a:spcBef>
              <a:spcAft>
                <a:spcPts val="225"/>
              </a:spcAft>
            </a:pPr>
            <a:endParaRPr lang="en-US" sz="1875" b="1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3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35"/>
            <a:r>
              <a:rPr lang="en-US" sz="600">
                <a:solidFill>
                  <a:srgbClr val="333333"/>
                </a:solidFill>
              </a:rPr>
              <a:t>Source: …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201" y="3477087"/>
            <a:ext cx="2228850" cy="1666414"/>
          </a:xfrm>
          <a:prstGeom prst="rect">
            <a:avLst/>
          </a:prstGeom>
        </p:spPr>
      </p:pic>
      <p:sp>
        <p:nvSpPr>
          <p:cNvPr id="28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9670" y="2329879"/>
            <a:ext cx="3224284" cy="415499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700" baseline="0" dirty="0">
                <a:solidFill>
                  <a:schemeClr val="accent6">
                    <a:lumMod val="10000"/>
                  </a:schemeClr>
                </a:solidFill>
              </a:defRPr>
            </a:lvl1pPr>
          </a:lstStyle>
          <a:p>
            <a:pPr lvl="0"/>
            <a:r>
              <a:rPr lang="id-ID"/>
              <a:t>Thank you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3424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1_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</p:spTree>
    <p:extLst>
      <p:ext uri="{BB962C8B-B14F-4D97-AF65-F5344CB8AC3E}">
        <p14:creationId xmlns:p14="http://schemas.microsoft.com/office/powerpoint/2010/main" val="306969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235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35">
              <a:spcBef>
                <a:spcPts val="225"/>
              </a:spcBef>
              <a:spcAft>
                <a:spcPts val="225"/>
              </a:spcAft>
            </a:pPr>
            <a:endParaRPr lang="en-US" sz="1875" b="1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3" y="129160"/>
            <a:ext cx="7417763" cy="14250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accent6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7221"/>
            <a:ext cx="7417763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3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35"/>
            <a:r>
              <a:rPr lang="en-US" sz="600">
                <a:solidFill>
                  <a:srgbClr val="333333"/>
                </a:solidFill>
              </a:rPr>
              <a:t>Source: …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4880" y="0"/>
            <a:ext cx="920942" cy="51143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77087"/>
            <a:ext cx="2228850" cy="1666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744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DD1AC0-2D36-1F97-9A38-5E49F67432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2169"/>
            <a:ext cx="6858000" cy="1790700"/>
          </a:xfrm>
        </p:spPr>
        <p:txBody>
          <a:bodyPr anchor="b"/>
          <a:lstStyle>
            <a:lvl1pPr algn="ctr"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B509D2-112E-5D30-9A75-87FEFD7DB0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1200"/>
            </a:lvl1pPr>
            <a:lvl2pPr marL="228600" indent="0" algn="ctr">
              <a:buNone/>
              <a:defRPr sz="1000"/>
            </a:lvl2pPr>
            <a:lvl3pPr marL="457200" indent="0" algn="ctr">
              <a:buNone/>
              <a:defRPr sz="900"/>
            </a:lvl3pPr>
            <a:lvl4pPr marL="685800" indent="0" algn="ctr">
              <a:buNone/>
              <a:defRPr sz="800"/>
            </a:lvl4pPr>
            <a:lvl5pPr marL="914400" indent="0" algn="ctr">
              <a:buNone/>
              <a:defRPr sz="800"/>
            </a:lvl5pPr>
            <a:lvl6pPr marL="1143000" indent="0" algn="ctr">
              <a:buNone/>
              <a:defRPr sz="800"/>
            </a:lvl6pPr>
            <a:lvl7pPr marL="1371600" indent="0" algn="ctr">
              <a:buNone/>
              <a:defRPr sz="800"/>
            </a:lvl7pPr>
            <a:lvl8pPr marL="1600200" indent="0" algn="ctr">
              <a:buNone/>
              <a:defRPr sz="800"/>
            </a:lvl8pPr>
            <a:lvl9pPr marL="1828800" indent="0" algn="ctr">
              <a:buNone/>
              <a:defRPr sz="8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938A04-0D30-9BD8-BCAF-2052A6C55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40B8-B3EC-C34D-9345-5640C01E4967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49A422-DA7A-49B3-43ED-CCD30585FC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5991DB-D40F-D2C6-5120-89540089A8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1468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DA277-D5D6-98BE-2B83-7586D8320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E12AA7-8FBD-B90A-4168-79D297BD54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27FB51-EAFB-8286-5736-F34755884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40B8-B3EC-C34D-9345-5640C01E4967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EC1D05-D250-3634-2C2E-FDCFD578D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472646-AA74-BFB4-5D76-364784EF21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1595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C53E5D-4B68-39EA-A729-EC629137B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282700"/>
            <a:ext cx="7886700" cy="2139157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B8B0C6-E0CC-928A-416F-FFB76963CE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3442494"/>
            <a:ext cx="7886700" cy="1124744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22860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D05579-B7A5-6F76-7A09-543BD4FCC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40B8-B3EC-C34D-9345-5640C01E4967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EEC32E-CA2D-300D-8824-DDDBFE13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DF626A-9DFA-4BA7-72DC-49170F298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1702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A0EEB-3337-1B3C-50E2-CBEBC4CA8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2442AB-82C6-E3C0-B56B-8151826D6B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905250" cy="326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DA9527-B681-E19C-670D-F4EEAEB806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10100" y="1369219"/>
            <a:ext cx="3905250" cy="326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533146-0D34-BAA4-F389-60E5F1087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40B8-B3EC-C34D-9345-5640C01E4967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C1B122-5F18-2A39-DAD3-96EDBBBCC5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F95EF4-B0F9-0769-6181-3A069ADFB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2386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8940F4-7823-CBF1-325B-D3ACF5A326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3844"/>
            <a:ext cx="7886700" cy="99456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636312-E326-75B9-9CCF-786CB1A1E2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1269"/>
            <a:ext cx="3867944" cy="617538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EAEE8-09C2-770A-E673-65A148DD8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8807"/>
            <a:ext cx="3867944" cy="2763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AF4E65-B7AE-6F7E-D13A-C10E31C876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1269"/>
            <a:ext cx="3887788" cy="617538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5A2AEB-FB90-03FA-61A7-02F5D3D0B1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7"/>
            <a:ext cx="3887788" cy="2763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7BBAF6-E1FB-0341-8E30-26E8CAE6E0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40B8-B3EC-C34D-9345-5640C01E4967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11CA05-952C-F59A-1542-90E4B88E9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3E18549-9B5A-EF10-C720-6418A9AF9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9078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01C8A-EA5C-4149-9AB4-F070EE3DB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4C35FF-AEEF-3DC1-D59A-3DE6AC38C1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40B8-B3EC-C34D-9345-5640C01E4967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A2A2A0-7F95-BC08-921B-9FEFF6328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194E4F-798B-9F3E-70D8-A74FE67BF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9352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DB29371-517D-627E-C9DF-B75B928956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40B8-B3EC-C34D-9345-5640C01E4967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5478DB-6AC5-28FC-21F3-E337588E2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56FD2E-EF3A-BF1E-F662-4DB1257DB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0143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444F74-FB57-426E-E437-5556001EF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8782" cy="1200150"/>
          </a:xfrm>
        </p:spPr>
        <p:txBody>
          <a:bodyPr anchor="b"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EDECD7-0DA0-FDEE-FD79-92650C7762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0569"/>
            <a:ext cx="4629150" cy="3655219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9F5867-68B6-FCD1-53A4-6C15E6B730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8782" cy="2859088"/>
          </a:xfrm>
        </p:spPr>
        <p:txBody>
          <a:bodyPr/>
          <a:lstStyle>
            <a:lvl1pPr marL="0" indent="0">
              <a:buNone/>
              <a:defRPr sz="800"/>
            </a:lvl1pPr>
            <a:lvl2pPr marL="228600" indent="0">
              <a:buNone/>
              <a:defRPr sz="700"/>
            </a:lvl2pPr>
            <a:lvl3pPr marL="457200" indent="0">
              <a:buNone/>
              <a:defRPr sz="600"/>
            </a:lvl3pPr>
            <a:lvl4pPr marL="685800" indent="0">
              <a:buNone/>
              <a:defRPr sz="500"/>
            </a:lvl4pPr>
            <a:lvl5pPr marL="914400" indent="0">
              <a:buNone/>
              <a:defRPr sz="500"/>
            </a:lvl5pPr>
            <a:lvl6pPr marL="1143000" indent="0">
              <a:buNone/>
              <a:defRPr sz="500"/>
            </a:lvl6pPr>
            <a:lvl7pPr marL="1371600" indent="0">
              <a:buNone/>
              <a:defRPr sz="500"/>
            </a:lvl7pPr>
            <a:lvl8pPr marL="1600200" indent="0">
              <a:buNone/>
              <a:defRPr sz="500"/>
            </a:lvl8pPr>
            <a:lvl9pPr marL="1828800" indent="0">
              <a:buNone/>
              <a:defRPr sz="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550717-A9B8-EDEB-DDDB-B8E63C627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40B8-B3EC-C34D-9345-5640C01E4967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8A2AD5-78B0-DB63-1162-01751E102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CEFB6C-AB66-60E6-97DD-16D5BC88D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057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1_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rgbClr val="26468E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Google Shape;20;p4"/>
          <p:cNvSpPr/>
          <p:nvPr/>
        </p:nvSpPr>
        <p:spPr>
          <a:xfrm>
            <a:off x="0" y="0"/>
            <a:ext cx="9144000" cy="139200"/>
          </a:xfrm>
          <a:prstGeom prst="rect">
            <a:avLst/>
          </a:prstGeom>
          <a:gradFill>
            <a:gsLst>
              <a:gs pos="0">
                <a:srgbClr val="E30613"/>
              </a:gs>
              <a:gs pos="34000">
                <a:srgbClr val="EA0000"/>
              </a:gs>
              <a:gs pos="65000">
                <a:srgbClr val="C28009"/>
              </a:gs>
              <a:gs pos="100000">
                <a:srgbClr val="C28009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Google Shape;21;p4"/>
          <p:cNvSpPr/>
          <p:nvPr/>
        </p:nvSpPr>
        <p:spPr>
          <a:xfrm>
            <a:off x="0" y="5064981"/>
            <a:ext cx="9144000" cy="83100"/>
          </a:xfrm>
          <a:prstGeom prst="rect">
            <a:avLst/>
          </a:prstGeom>
          <a:solidFill>
            <a:srgbClr val="EA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10;p1" title="dunamis horizontal Transparace.png">
            <a:extLst>
              <a:ext uri="{FF2B5EF4-FFF2-40B4-BE49-F238E27FC236}">
                <a16:creationId xmlns:a16="http://schemas.microsoft.com/office/drawing/2014/main" id="{0029FA52-D4DC-D361-651A-FD4D7C304B51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6025" y="220150"/>
            <a:ext cx="1271977" cy="418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A80C873-D70B-AF58-EF66-E74D5A8709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61892" y="232131"/>
            <a:ext cx="1271977" cy="3203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1A30BF-8470-305E-EF6A-18F8404F476B}"/>
              </a:ext>
            </a:extLst>
          </p:cNvPr>
          <p:cNvSpPr txBox="1"/>
          <p:nvPr userDrawn="1"/>
        </p:nvSpPr>
        <p:spPr>
          <a:xfrm>
            <a:off x="152703" y="4758466"/>
            <a:ext cx="29991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26468E"/>
                </a:solidFill>
              </a:rPr>
              <a:t>©️ DUNAMIS ORGANIZATION SERVICES 2025</a:t>
            </a:r>
          </a:p>
        </p:txBody>
      </p:sp>
      <p:grpSp>
        <p:nvGrpSpPr>
          <p:cNvPr id="3" name="Google Shape;599;p10">
            <a:extLst>
              <a:ext uri="{FF2B5EF4-FFF2-40B4-BE49-F238E27FC236}">
                <a16:creationId xmlns:a16="http://schemas.microsoft.com/office/drawing/2014/main" id="{BC860CB0-2C18-985D-D4E4-A4171108E874}"/>
              </a:ext>
            </a:extLst>
          </p:cNvPr>
          <p:cNvGrpSpPr/>
          <p:nvPr userDrawn="1"/>
        </p:nvGrpSpPr>
        <p:grpSpPr>
          <a:xfrm>
            <a:off x="893473" y="844262"/>
            <a:ext cx="7360256" cy="3678611"/>
            <a:chOff x="1234074" y="1179467"/>
            <a:chExt cx="4833284" cy="2249533"/>
          </a:xfrm>
        </p:grpSpPr>
        <p:sp>
          <p:nvSpPr>
            <p:cNvPr id="6" name="Google Shape;600;p10">
              <a:extLst>
                <a:ext uri="{FF2B5EF4-FFF2-40B4-BE49-F238E27FC236}">
                  <a16:creationId xmlns:a16="http://schemas.microsoft.com/office/drawing/2014/main" id="{D5DFFEDD-545C-399A-DB8D-0F760420DE1F}"/>
                </a:ext>
              </a:extLst>
            </p:cNvPr>
            <p:cNvSpPr txBox="1"/>
            <p:nvPr/>
          </p:nvSpPr>
          <p:spPr>
            <a:xfrm>
              <a:off x="1234074" y="1179467"/>
              <a:ext cx="3049008" cy="2790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6363" tIns="26363" rIns="26363" bIns="26363" anchor="t" anchorCtr="0">
              <a:noAutofit/>
            </a:bodyPr>
            <a:lstStyle/>
            <a:p>
              <a:pPr defTabSz="685800">
                <a:buClr>
                  <a:srgbClr val="C00000"/>
                </a:buClr>
                <a:buSzPts val="4000"/>
                <a:defRPr/>
              </a:pPr>
              <a:r>
                <a:rPr lang="en-US" sz="2400" dirty="0">
                  <a:solidFill>
                    <a:srgbClr val="ED4B48"/>
                  </a:solidFill>
                  <a:latin typeface="Anton" pitchFamily="2" charset="77"/>
                  <a:ea typeface="Libre Franklin Medium"/>
                  <a:cs typeface="Libre Franklin Medium"/>
                  <a:sym typeface="Libre Franklin Medium"/>
                </a:rPr>
                <a:t>5 REAKSI UMUM </a:t>
              </a:r>
              <a:br>
                <a:rPr lang="en-US" sz="2400" dirty="0">
                  <a:solidFill>
                    <a:srgbClr val="ED4B48"/>
                  </a:solidFill>
                  <a:latin typeface="Anton" pitchFamily="2" charset="77"/>
                  <a:ea typeface="Libre Franklin Medium"/>
                  <a:cs typeface="Libre Franklin Medium"/>
                  <a:sym typeface="Libre Franklin Medium"/>
                </a:rPr>
              </a:br>
              <a:r>
                <a:rPr lang="en-US" sz="2400" dirty="0">
                  <a:solidFill>
                    <a:srgbClr val="ED4B48"/>
                  </a:solidFill>
                  <a:latin typeface="Anton" pitchFamily="2" charset="77"/>
                  <a:ea typeface="Libre Franklin Medium"/>
                  <a:cs typeface="Libre Franklin Medium"/>
                  <a:sym typeface="Libre Franklin Medium"/>
                </a:rPr>
                <a:t>TERHADAP PERUBAHAN </a:t>
              </a:r>
              <a:endParaRPr lang="en-US" sz="825" dirty="0">
                <a:solidFill>
                  <a:srgbClr val="ED4B48"/>
                </a:solidFill>
                <a:latin typeface="Anton" pitchFamily="2" charset="77"/>
              </a:endParaRPr>
            </a:p>
          </p:txBody>
        </p:sp>
        <p:pic>
          <p:nvPicPr>
            <p:cNvPr id="7" name="Google Shape;601;p10" descr="Reaction - Free social media icons">
              <a:extLst>
                <a:ext uri="{FF2B5EF4-FFF2-40B4-BE49-F238E27FC236}">
                  <a16:creationId xmlns:a16="http://schemas.microsoft.com/office/drawing/2014/main" id="{7D003493-DA10-0A6C-9653-CAA674A4C6A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982982" y="1633303"/>
              <a:ext cx="1084376" cy="108437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" name="Google Shape;602;p10">
              <a:extLst>
                <a:ext uri="{FF2B5EF4-FFF2-40B4-BE49-F238E27FC236}">
                  <a16:creationId xmlns:a16="http://schemas.microsoft.com/office/drawing/2014/main" id="{256D1D3E-7773-7987-7EF9-95BC8AFFA750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404430" y="1656806"/>
              <a:ext cx="360156" cy="177219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" name="Google Shape;603;p10">
              <a:extLst>
                <a:ext uri="{FF2B5EF4-FFF2-40B4-BE49-F238E27FC236}">
                  <a16:creationId xmlns:a16="http://schemas.microsoft.com/office/drawing/2014/main" id="{4FB32169-C6CA-D0D9-A8AA-4C98D78A9C32}"/>
                </a:ext>
              </a:extLst>
            </p:cNvPr>
            <p:cNvSpPr txBox="1"/>
            <p:nvPr/>
          </p:nvSpPr>
          <p:spPr>
            <a:xfrm>
              <a:off x="1797969" y="1764106"/>
              <a:ext cx="2000525" cy="159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831" tIns="14831" rIns="14831" bIns="14831" anchor="ctr" anchorCtr="0">
              <a:spAutoFit/>
            </a:bodyPr>
            <a:lstStyle/>
            <a:p>
              <a:pPr defTabSz="685800">
                <a:defRPr/>
              </a:pPr>
              <a:r>
                <a:rPr lang="en-US" sz="1500" b="1" dirty="0">
                  <a:solidFill>
                    <a:srgbClr val="00517F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Move</a:t>
              </a:r>
              <a:r>
                <a:rPr lang="en-US" sz="1500" b="1" dirty="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– </a:t>
              </a:r>
              <a:r>
                <a:rPr lang="en-US" sz="1500" dirty="0" err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Segera</a:t>
              </a:r>
              <a:r>
                <a:rPr lang="en-US" sz="1500" dirty="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</a:t>
              </a:r>
              <a:r>
                <a:rPr lang="en-US" sz="1500" dirty="0" err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ikut</a:t>
              </a:r>
              <a:r>
                <a:rPr lang="en-US" sz="1500" dirty="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</a:t>
              </a:r>
              <a:r>
                <a:rPr lang="en-US" sz="1500" dirty="0" err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berubah</a:t>
              </a:r>
              <a:endParaRPr sz="1500" b="1" dirty="0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0" name="Google Shape;604;p10">
              <a:extLst>
                <a:ext uri="{FF2B5EF4-FFF2-40B4-BE49-F238E27FC236}">
                  <a16:creationId xmlns:a16="http://schemas.microsoft.com/office/drawing/2014/main" id="{F99F4D8C-1844-D20E-B931-D1F04DE34423}"/>
                </a:ext>
              </a:extLst>
            </p:cNvPr>
            <p:cNvSpPr txBox="1"/>
            <p:nvPr/>
          </p:nvSpPr>
          <p:spPr>
            <a:xfrm>
              <a:off x="1797968" y="2115589"/>
              <a:ext cx="2571750" cy="159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831" tIns="14831" rIns="14831" bIns="14831" anchor="ctr" anchorCtr="0">
              <a:spAutoFit/>
            </a:bodyPr>
            <a:lstStyle/>
            <a:p>
              <a:pPr defTabSz="685800">
                <a:defRPr/>
              </a:pPr>
              <a:r>
                <a:rPr lang="en-US" sz="1500" b="1">
                  <a:solidFill>
                    <a:srgbClr val="00517F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Minimize</a:t>
              </a:r>
              <a:r>
                <a:rPr lang="en-US" sz="1500" b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– </a:t>
              </a:r>
              <a:r>
                <a:rPr lang="en-US" sz="150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Berubah tapi sedikit</a:t>
              </a:r>
              <a:endParaRPr sz="1500" b="1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1" name="Google Shape;605;p10">
              <a:extLst>
                <a:ext uri="{FF2B5EF4-FFF2-40B4-BE49-F238E27FC236}">
                  <a16:creationId xmlns:a16="http://schemas.microsoft.com/office/drawing/2014/main" id="{F9EDFEC3-077F-416D-0500-EECECB602FCC}"/>
                </a:ext>
              </a:extLst>
            </p:cNvPr>
            <p:cNvSpPr txBox="1"/>
            <p:nvPr/>
          </p:nvSpPr>
          <p:spPr>
            <a:xfrm>
              <a:off x="1797968" y="2392588"/>
              <a:ext cx="2571750" cy="3006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831" tIns="14831" rIns="14831" bIns="14831" anchor="ctr" anchorCtr="0">
              <a:spAutoFit/>
            </a:bodyPr>
            <a:lstStyle/>
            <a:p>
              <a:pPr defTabSz="685800">
                <a:defRPr/>
              </a:pPr>
              <a:r>
                <a:rPr lang="en-US" sz="1500" b="1">
                  <a:solidFill>
                    <a:srgbClr val="00517F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Wait</a:t>
              </a:r>
              <a:r>
                <a:rPr lang="en-US" sz="1500" b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– </a:t>
              </a:r>
              <a:r>
                <a:rPr lang="en-US" sz="150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Tidak melakukan apa-apa sampai orang lain berubah</a:t>
              </a:r>
              <a:endParaRPr sz="1500" b="1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2" name="Google Shape;606;p10">
              <a:extLst>
                <a:ext uri="{FF2B5EF4-FFF2-40B4-BE49-F238E27FC236}">
                  <a16:creationId xmlns:a16="http://schemas.microsoft.com/office/drawing/2014/main" id="{B16A0AB5-8993-7C47-CA01-7A728BAE154C}"/>
                </a:ext>
              </a:extLst>
            </p:cNvPr>
            <p:cNvSpPr txBox="1"/>
            <p:nvPr/>
          </p:nvSpPr>
          <p:spPr>
            <a:xfrm>
              <a:off x="1797968" y="2777111"/>
              <a:ext cx="2571750" cy="3006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831" tIns="14831" rIns="14831" bIns="14831" anchor="ctr" anchorCtr="0">
              <a:spAutoFit/>
            </a:bodyPr>
            <a:lstStyle/>
            <a:p>
              <a:pPr defTabSz="685800">
                <a:defRPr/>
              </a:pPr>
              <a:r>
                <a:rPr lang="en-US" sz="1500" b="1">
                  <a:solidFill>
                    <a:srgbClr val="00517F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Resist</a:t>
              </a:r>
              <a:r>
                <a:rPr lang="en-US" sz="1500" b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 – </a:t>
              </a:r>
              <a:r>
                <a:rPr lang="en-US" sz="150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Tidak suka pada perubahan dan mengajak orang untuk ikut melawannya</a:t>
              </a:r>
              <a:endParaRPr sz="1500" b="1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3" name="Google Shape;607;p10">
              <a:extLst>
                <a:ext uri="{FF2B5EF4-FFF2-40B4-BE49-F238E27FC236}">
                  <a16:creationId xmlns:a16="http://schemas.microsoft.com/office/drawing/2014/main" id="{4A7DAC41-96F3-DDEC-9C37-2B4CEE8F15E7}"/>
                </a:ext>
              </a:extLst>
            </p:cNvPr>
            <p:cNvSpPr txBox="1"/>
            <p:nvPr/>
          </p:nvSpPr>
          <p:spPr>
            <a:xfrm>
              <a:off x="1797969" y="3160296"/>
              <a:ext cx="3185013" cy="159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831" tIns="14831" rIns="14831" bIns="14831" anchor="ctr" anchorCtr="0">
              <a:spAutoFit/>
            </a:bodyPr>
            <a:lstStyle/>
            <a:p>
              <a:pPr defTabSz="685800">
                <a:defRPr/>
              </a:pPr>
              <a:r>
                <a:rPr lang="en-US" sz="1500" b="1">
                  <a:solidFill>
                    <a:srgbClr val="00517F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Quit </a:t>
              </a:r>
              <a:r>
                <a:rPr lang="en-US" sz="1500" b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– </a:t>
              </a:r>
              <a:r>
                <a:rPr lang="en-US" sz="1500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Pergi atau tetap tinggal namun tidak </a:t>
              </a:r>
              <a:r>
                <a:rPr lang="en-US" sz="1500" i="1">
                  <a:solidFill>
                    <a:srgbClr val="5E5E5E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engage</a:t>
              </a:r>
              <a:endParaRPr sz="1500" b="1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7675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FCA94-7A59-B502-254F-8397FB12CA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8782" cy="1200150"/>
          </a:xfrm>
        </p:spPr>
        <p:txBody>
          <a:bodyPr anchor="b"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B6420B-0434-B5BB-6C4A-0C21F3048F1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0569"/>
            <a:ext cx="4629150" cy="3655219"/>
          </a:xfrm>
        </p:spPr>
        <p:txBody>
          <a:bodyPr/>
          <a:lstStyle>
            <a:lvl1pPr marL="0" indent="0">
              <a:buNone/>
              <a:defRPr sz="1600"/>
            </a:lvl1pPr>
            <a:lvl2pPr marL="228600" indent="0">
              <a:buNone/>
              <a:defRPr sz="1400"/>
            </a:lvl2pPr>
            <a:lvl3pPr marL="457200" indent="0">
              <a:buNone/>
              <a:defRPr sz="12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  <a:lvl6pPr marL="1143000" indent="0">
              <a:buNone/>
              <a:defRPr sz="1000"/>
            </a:lvl6pPr>
            <a:lvl7pPr marL="1371600" indent="0">
              <a:buNone/>
              <a:defRPr sz="1000"/>
            </a:lvl7pPr>
            <a:lvl8pPr marL="1600200" indent="0">
              <a:buNone/>
              <a:defRPr sz="1000"/>
            </a:lvl8pPr>
            <a:lvl9pPr marL="1828800" indent="0">
              <a:buNone/>
              <a:defRPr sz="1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BE61B-CAAF-60CA-487D-10DD87403E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8782" cy="2859088"/>
          </a:xfrm>
        </p:spPr>
        <p:txBody>
          <a:bodyPr/>
          <a:lstStyle>
            <a:lvl1pPr marL="0" indent="0">
              <a:buNone/>
              <a:defRPr sz="800"/>
            </a:lvl1pPr>
            <a:lvl2pPr marL="228600" indent="0">
              <a:buNone/>
              <a:defRPr sz="700"/>
            </a:lvl2pPr>
            <a:lvl3pPr marL="457200" indent="0">
              <a:buNone/>
              <a:defRPr sz="600"/>
            </a:lvl3pPr>
            <a:lvl4pPr marL="685800" indent="0">
              <a:buNone/>
              <a:defRPr sz="500"/>
            </a:lvl4pPr>
            <a:lvl5pPr marL="914400" indent="0">
              <a:buNone/>
              <a:defRPr sz="500"/>
            </a:lvl5pPr>
            <a:lvl6pPr marL="1143000" indent="0">
              <a:buNone/>
              <a:defRPr sz="500"/>
            </a:lvl6pPr>
            <a:lvl7pPr marL="1371600" indent="0">
              <a:buNone/>
              <a:defRPr sz="500"/>
            </a:lvl7pPr>
            <a:lvl8pPr marL="1600200" indent="0">
              <a:buNone/>
              <a:defRPr sz="500"/>
            </a:lvl8pPr>
            <a:lvl9pPr marL="1828800" indent="0">
              <a:buNone/>
              <a:defRPr sz="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391043-861A-3DD8-77E3-B73606D17C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40B8-B3EC-C34D-9345-5640C01E4967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E37661-BB5B-DFCD-7697-CDF999D79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43762B-F25E-878B-F1EC-FF13E99C1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43977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49A690-F129-FB9A-181B-60AEDDF5E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21DC83-3872-A9A0-BD3E-2D02C4F572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51CE66-34D0-93D8-9F84-B3320193A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40B8-B3EC-C34D-9345-5640C01E4967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5BC16F-B4F7-4479-6B01-2A96C84D5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11E3EE-9C86-44B1-9665-231F72568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5256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10E58A0-FFE5-90A8-36BA-A8BA20C348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9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32DC403-9B08-3421-7D2D-6835CB5980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38825" cy="4359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EB07D9-CF7A-5B77-2C41-76C657B08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40B8-B3EC-C34D-9345-5640C01E4967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235DF0-0756-CE86-541F-47710A95E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7B9075-174A-41AD-4D46-94C802F1C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79366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77877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CD00E1A8-5112-324D-87FF-9DC38D7A25ED}"/>
              </a:ext>
            </a:extLst>
          </p:cNvPr>
          <p:cNvGrpSpPr/>
          <p:nvPr userDrawn="1"/>
        </p:nvGrpSpPr>
        <p:grpSpPr>
          <a:xfrm>
            <a:off x="0" y="-2"/>
            <a:ext cx="9144000" cy="5143502"/>
            <a:chOff x="0" y="-2"/>
            <a:chExt cx="12192000" cy="685800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455E072-23C2-8548-A184-4355B88FFB3A}"/>
                </a:ext>
              </a:extLst>
            </p:cNvPr>
            <p:cNvGrpSpPr/>
            <p:nvPr userDrawn="1"/>
          </p:nvGrpSpPr>
          <p:grpSpPr>
            <a:xfrm>
              <a:off x="6095999" y="-2"/>
              <a:ext cx="6096001" cy="6858002"/>
              <a:chOff x="6095999" y="-2"/>
              <a:chExt cx="6096001" cy="6858002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A51BF21E-5EBB-5A41-AF3F-2B1749718B9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/>
              <a:srcRect l="5787" t="16032" r="-42" b="7511"/>
              <a:stretch/>
            </p:blipFill>
            <p:spPr>
              <a:xfrm>
                <a:off x="6270812" y="3255819"/>
                <a:ext cx="5921188" cy="3602181"/>
              </a:xfrm>
              <a:prstGeom prst="rect">
                <a:avLst/>
              </a:prstGeom>
            </p:spPr>
          </p:pic>
          <p:pic>
            <p:nvPicPr>
              <p:cNvPr id="3" name="Picture 2" descr="A group of people in a meeting&#10;&#10;Description automatically generated with medium confidence">
                <a:extLst>
                  <a:ext uri="{FF2B5EF4-FFF2-40B4-BE49-F238E27FC236}">
                    <a16:creationId xmlns:a16="http://schemas.microsoft.com/office/drawing/2014/main" id="{58C5D4BB-B065-A841-8B8A-036391244FA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-1326" t="22161" r="5406" b="-8531"/>
              <a:stretch/>
            </p:blipFill>
            <p:spPr>
              <a:xfrm>
                <a:off x="6095999" y="-2"/>
                <a:ext cx="6093112" cy="3657600"/>
              </a:xfrm>
              <a:prstGeom prst="rect">
                <a:avLst/>
              </a:prstGeom>
            </p:spPr>
          </p:pic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06C9445-7130-F645-8C5C-19894AF44E75}"/>
                </a:ext>
              </a:extLst>
            </p:cNvPr>
            <p:cNvSpPr/>
            <p:nvPr userDrawn="1"/>
          </p:nvSpPr>
          <p:spPr>
            <a:xfrm>
              <a:off x="0" y="-2"/>
              <a:ext cx="6270812" cy="6858001"/>
            </a:xfrm>
            <a:prstGeom prst="rect">
              <a:avLst/>
            </a:prstGeom>
            <a:solidFill>
              <a:srgbClr val="2437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050" dirty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0F1F1CBE-ECF8-7947-BE3B-CB1DF05AF34E}"/>
              </a:ext>
            </a:extLst>
          </p:cNvPr>
          <p:cNvSpPr txBox="1"/>
          <p:nvPr userDrawn="1"/>
        </p:nvSpPr>
        <p:spPr>
          <a:xfrm>
            <a:off x="7727266" y="4856613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1E9D7E-3F7A-D34C-99F8-1EF246C0F2A2}"/>
              </a:ext>
            </a:extLst>
          </p:cNvPr>
          <p:cNvSpPr txBox="1"/>
          <p:nvPr userDrawn="1"/>
        </p:nvSpPr>
        <p:spPr>
          <a:xfrm>
            <a:off x="3220821" y="4755983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 pitchFamily="34" charset="0"/>
                <a:cs typeface="Gotham-Light" pitchFamily="2" charset="0"/>
              </a:rPr>
              <a:t>© Franklin Covey Co. All rights reserved.</a:t>
            </a:r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692B2B43-EEBE-F348-BF1C-D3F8A73D1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ED8F1E9-B17A-30C2-A016-A28E54ECA972}"/>
              </a:ext>
            </a:extLst>
          </p:cNvPr>
          <p:cNvSpPr txBox="1"/>
          <p:nvPr userDrawn="1"/>
        </p:nvSpPr>
        <p:spPr>
          <a:xfrm>
            <a:off x="3220821" y="4908383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Helvetica Light" panose="020B0403020202020204" pitchFamily="34" charset="0"/>
                <a:cs typeface="Gotham-Light" pitchFamily="2" charset="0"/>
              </a:rPr>
              <a:t>MRK22117750</a:t>
            </a:r>
          </a:p>
        </p:txBody>
      </p:sp>
    </p:spTree>
    <p:extLst>
      <p:ext uri="{BB962C8B-B14F-4D97-AF65-F5344CB8AC3E}">
        <p14:creationId xmlns:p14="http://schemas.microsoft.com/office/powerpoint/2010/main" val="120900029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706C9445-7130-F645-8C5C-19894AF44E75}"/>
              </a:ext>
            </a:extLst>
          </p:cNvPr>
          <p:cNvSpPr/>
          <p:nvPr userDrawn="1"/>
        </p:nvSpPr>
        <p:spPr>
          <a:xfrm>
            <a:off x="0" y="-211574"/>
            <a:ext cx="9144000" cy="5355075"/>
          </a:xfrm>
          <a:prstGeom prst="rect">
            <a:avLst/>
          </a:prstGeom>
          <a:solidFill>
            <a:srgbClr val="2437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692B2B43-EEBE-F348-BF1C-D3F8A73D1C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7C6102F-83B2-B2A4-341E-3DF219946960}"/>
              </a:ext>
            </a:extLst>
          </p:cNvPr>
          <p:cNvSpPr txBox="1"/>
          <p:nvPr userDrawn="1"/>
        </p:nvSpPr>
        <p:spPr>
          <a:xfrm>
            <a:off x="7727266" y="4931927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  <p:pic>
        <p:nvPicPr>
          <p:cNvPr id="10" name="Picture 9" descr="Qr code&#10;&#10;Description automatically generated">
            <a:extLst>
              <a:ext uri="{FF2B5EF4-FFF2-40B4-BE49-F238E27FC236}">
                <a16:creationId xmlns:a16="http://schemas.microsoft.com/office/drawing/2014/main" id="{F6E86B3D-31DA-778B-0405-FBB6D28B6C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60605" y="2345889"/>
            <a:ext cx="2106932" cy="210693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F0AF51EC-1A7D-6F59-16DF-43567DE8CCAC}"/>
              </a:ext>
            </a:extLst>
          </p:cNvPr>
          <p:cNvSpPr txBox="1"/>
          <p:nvPr userDrawn="1"/>
        </p:nvSpPr>
        <p:spPr>
          <a:xfrm>
            <a:off x="5946791" y="4544245"/>
            <a:ext cx="70104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3428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solidFill>
                  <a:schemeClr val="bg1"/>
                </a:solidFill>
                <a:effectLst/>
                <a:latin typeface="HelveticaNeueLT Std Thin" panose="020B04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ndout</a:t>
            </a:r>
            <a:endParaRPr lang="en-US" sz="105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1F0A243-3E4A-BA9E-D5B4-A603531C7476}"/>
              </a:ext>
            </a:extLst>
          </p:cNvPr>
          <p:cNvGrpSpPr/>
          <p:nvPr userDrawn="1"/>
        </p:nvGrpSpPr>
        <p:grpSpPr>
          <a:xfrm>
            <a:off x="390702" y="1556541"/>
            <a:ext cx="4014335" cy="1798982"/>
            <a:chOff x="587437" y="2345337"/>
            <a:chExt cx="5352447" cy="177511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45AC77-5985-5326-D97A-34934D72EF1C}"/>
                </a:ext>
              </a:extLst>
            </p:cNvPr>
            <p:cNvSpPr txBox="1"/>
            <p:nvPr userDrawn="1"/>
          </p:nvSpPr>
          <p:spPr>
            <a:xfrm>
              <a:off x="587437" y="2345337"/>
              <a:ext cx="5312547" cy="137146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indent="0" algn="l" defTabSz="34289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b="0" i="0" u="none" strike="noStrike" kern="1200" dirty="0">
                  <a:solidFill>
                    <a:schemeClr val="bg1"/>
                  </a:solidFill>
                  <a:effectLst/>
                  <a:latin typeface="HelveticaNeueLT Std Lt" panose="020B0403020202020204" pitchFamily="34" charset="0"/>
                  <a:ea typeface="+mn-ea"/>
                  <a:cs typeface="+mn-cs"/>
                </a:rPr>
                <a:t>Build </a:t>
              </a:r>
              <a:r>
                <a:rPr lang="en-US" sz="3600" b="1" i="0" u="none" strike="noStrike" kern="1200" dirty="0">
                  <a:solidFill>
                    <a:schemeClr val="bg1"/>
                  </a:solidFill>
                  <a:effectLst/>
                  <a:latin typeface="HelveticaNeueLT Std" panose="020B0604020202020204" pitchFamily="34" charset="0"/>
                  <a:ea typeface="+mn-ea"/>
                  <a:cs typeface="+mn-cs"/>
                </a:rPr>
                <a:t>Resilient</a:t>
              </a:r>
              <a:r>
                <a:rPr lang="en-US" sz="3600" b="0" i="0" u="none" strike="noStrike" kern="1200" dirty="0">
                  <a:solidFill>
                    <a:schemeClr val="bg1"/>
                  </a:solidFill>
                  <a:effectLst/>
                  <a:latin typeface="HelveticaNeueLT Std Lt" panose="020B0403020202020204" pitchFamily="34" charset="0"/>
                  <a:ea typeface="+mn-ea"/>
                  <a:cs typeface="+mn-cs"/>
                </a:rPr>
                <a:t> and </a:t>
              </a:r>
              <a:r>
                <a:rPr lang="en-US" sz="3600" b="1" i="0" u="none" strike="noStrike" kern="1200" dirty="0">
                  <a:solidFill>
                    <a:schemeClr val="bg1"/>
                  </a:solidFill>
                  <a:effectLst/>
                  <a:latin typeface="HelveticaNeueLT Std" panose="020B0604020202020204" pitchFamily="34" charset="0"/>
                  <a:ea typeface="+mn-ea"/>
                  <a:cs typeface="+mn-cs"/>
                </a:rPr>
                <a:t>Engaged Hybrid Teams</a:t>
              </a:r>
              <a:endParaRPr lang="en-US" sz="3600" b="1" i="0" spc="0" baseline="0" dirty="0">
                <a:solidFill>
                  <a:schemeClr val="bg1"/>
                </a:solidFill>
                <a:latin typeface="HelveticaNeueLT Std" panose="020B060402020202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CECAC20-F3BA-A847-380F-9159D755C98C}"/>
                </a:ext>
              </a:extLst>
            </p:cNvPr>
            <p:cNvGrpSpPr/>
            <p:nvPr userDrawn="1"/>
          </p:nvGrpSpPr>
          <p:grpSpPr>
            <a:xfrm flipV="1">
              <a:off x="659547" y="4074734"/>
              <a:ext cx="5280337" cy="45719"/>
              <a:chOff x="446534" y="453643"/>
              <a:chExt cx="11298933" cy="10211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A9EF4DB7-E699-A166-90E5-B58669FC6448}"/>
                  </a:ext>
                </a:extLst>
              </p:cNvPr>
              <p:cNvSpPr/>
              <p:nvPr/>
            </p:nvSpPr>
            <p:spPr>
              <a:xfrm>
                <a:off x="446534" y="453643"/>
                <a:ext cx="3703321" cy="102111"/>
              </a:xfrm>
              <a:prstGeom prst="rect">
                <a:avLst/>
              </a:prstGeom>
              <a:solidFill>
                <a:srgbClr val="B9488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1050" dirty="0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3A9C83A1-FCE4-9873-C4FB-270F36089B59}"/>
                  </a:ext>
                </a:extLst>
              </p:cNvPr>
              <p:cNvSpPr/>
              <p:nvPr/>
            </p:nvSpPr>
            <p:spPr>
              <a:xfrm>
                <a:off x="8042146" y="453643"/>
                <a:ext cx="3703321" cy="102111"/>
              </a:xfrm>
              <a:prstGeom prst="rect">
                <a:avLst/>
              </a:prstGeom>
              <a:solidFill>
                <a:srgbClr val="4FA2D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1050" dirty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790193B6-1BF9-AE3B-0C55-8CFE649874FD}"/>
                  </a:ext>
                </a:extLst>
              </p:cNvPr>
              <p:cNvSpPr/>
              <p:nvPr/>
            </p:nvSpPr>
            <p:spPr>
              <a:xfrm>
                <a:off x="4241830" y="453643"/>
                <a:ext cx="3703321" cy="102111"/>
              </a:xfrm>
              <a:prstGeom prst="rect">
                <a:avLst/>
              </a:prstGeom>
              <a:solidFill>
                <a:srgbClr val="F3724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105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3015422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692B2B43-EEBE-F348-BF1C-D3F8A73D1C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7C6102F-83B2-B2A4-341E-3DF219946960}"/>
              </a:ext>
            </a:extLst>
          </p:cNvPr>
          <p:cNvSpPr txBox="1"/>
          <p:nvPr userDrawn="1"/>
        </p:nvSpPr>
        <p:spPr>
          <a:xfrm>
            <a:off x="7727266" y="4931927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6C9445-7130-F645-8C5C-19894AF44E75}"/>
              </a:ext>
            </a:extLst>
          </p:cNvPr>
          <p:cNvSpPr/>
          <p:nvPr userDrawn="1"/>
        </p:nvSpPr>
        <p:spPr>
          <a:xfrm>
            <a:off x="0" y="-211574"/>
            <a:ext cx="9144000" cy="5355075"/>
          </a:xfrm>
          <a:prstGeom prst="rect">
            <a:avLst/>
          </a:prstGeom>
          <a:solidFill>
            <a:srgbClr val="2437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9FC8EF-5C7A-71A4-3419-8E99358BDB87}"/>
              </a:ext>
            </a:extLst>
          </p:cNvPr>
          <p:cNvGrpSpPr/>
          <p:nvPr userDrawn="1"/>
        </p:nvGrpSpPr>
        <p:grpSpPr>
          <a:xfrm>
            <a:off x="349699" y="594093"/>
            <a:ext cx="8553935" cy="3655772"/>
            <a:chOff x="185848" y="20938"/>
            <a:chExt cx="11405246" cy="4874362"/>
          </a:xfrm>
        </p:grpSpPr>
        <p:pic>
          <p:nvPicPr>
            <p:cNvPr id="3" name="Picture 2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AF3374A0-F8A1-CFD4-CC52-AEBDDABD475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6141"/>
            <a:stretch/>
          </p:blipFill>
          <p:spPr>
            <a:xfrm>
              <a:off x="185848" y="680754"/>
              <a:ext cx="7018067" cy="3554731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76E554F4-55B0-C2C4-7F8F-1487F9DEBD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16732" y="20938"/>
              <a:ext cx="4874362" cy="48743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21861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692B2B43-EEBE-F348-BF1C-D3F8A73D1C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7C6102F-83B2-B2A4-341E-3DF219946960}"/>
              </a:ext>
            </a:extLst>
          </p:cNvPr>
          <p:cNvSpPr txBox="1"/>
          <p:nvPr userDrawn="1"/>
        </p:nvSpPr>
        <p:spPr>
          <a:xfrm>
            <a:off x="7727266" y="4931927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6E554F4-55B0-C2C4-7F8F-1487F9DEBD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00237" y="594093"/>
            <a:ext cx="3655772" cy="365577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89BE4AF-1AB0-78FD-FA53-15F525D754B8}"/>
              </a:ext>
            </a:extLst>
          </p:cNvPr>
          <p:cNvSpPr/>
          <p:nvPr userDrawn="1"/>
        </p:nvSpPr>
        <p:spPr>
          <a:xfrm>
            <a:off x="5162550" y="438151"/>
            <a:ext cx="3752850" cy="3876675"/>
          </a:xfrm>
          <a:prstGeom prst="rect">
            <a:avLst/>
          </a:prstGeom>
          <a:noFill/>
          <a:ln w="730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163686505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DAD6041-1BF4-A740-A27B-73D4C98AC835}"/>
              </a:ext>
            </a:extLst>
          </p:cNvPr>
          <p:cNvGrpSpPr/>
          <p:nvPr userDrawn="1"/>
        </p:nvGrpSpPr>
        <p:grpSpPr>
          <a:xfrm>
            <a:off x="4703110" y="-1"/>
            <a:ext cx="4440891" cy="5143500"/>
            <a:chOff x="6270812" y="-1"/>
            <a:chExt cx="5921188" cy="6858000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7837D5F0-2906-814C-820E-BF910BE1876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30493" r="11921"/>
            <a:stretch/>
          </p:blipFill>
          <p:spPr>
            <a:xfrm>
              <a:off x="6270812" y="-1"/>
              <a:ext cx="5921188" cy="6858000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CBB8CBC6-7628-A248-97CA-D36BFD55C3F2}"/>
                </a:ext>
              </a:extLst>
            </p:cNvPr>
            <p:cNvSpPr/>
            <p:nvPr userDrawn="1"/>
          </p:nvSpPr>
          <p:spPr>
            <a:xfrm>
              <a:off x="9413875" y="2447925"/>
              <a:ext cx="155575" cy="676275"/>
            </a:xfrm>
            <a:prstGeom prst="rect">
              <a:avLst/>
            </a:prstGeom>
            <a:solidFill>
              <a:srgbClr val="B2A08C"/>
            </a:solidFill>
            <a:ln>
              <a:solidFill>
                <a:srgbClr val="AE9E8D">
                  <a:alpha val="84375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DEA9CA32-D828-4641-9063-E6F5BBB95568}"/>
              </a:ext>
            </a:extLst>
          </p:cNvPr>
          <p:cNvSpPr/>
          <p:nvPr userDrawn="1"/>
        </p:nvSpPr>
        <p:spPr>
          <a:xfrm>
            <a:off x="1" y="-1"/>
            <a:ext cx="4703109" cy="5143501"/>
          </a:xfrm>
          <a:prstGeom prst="rect">
            <a:avLst/>
          </a:prstGeom>
          <a:solidFill>
            <a:srgbClr val="F3724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1F8AC0-2A9A-D946-B2A1-754E5973F30F}"/>
              </a:ext>
            </a:extLst>
          </p:cNvPr>
          <p:cNvSpPr txBox="1"/>
          <p:nvPr userDrawn="1"/>
        </p:nvSpPr>
        <p:spPr>
          <a:xfrm>
            <a:off x="135802" y="1943150"/>
            <a:ext cx="4488256" cy="10286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342892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0" b="1" i="0" spc="0" baseline="0" dirty="0">
                <a:solidFill>
                  <a:schemeClr val="bg1"/>
                </a:solidFill>
                <a:effectLst/>
                <a:latin typeface="HelveticaNeueLT Std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engthen</a:t>
            </a:r>
            <a:r>
              <a:rPr lang="en-US" sz="4500" b="0" i="0" spc="0" baseline="0" dirty="0">
                <a:solidFill>
                  <a:schemeClr val="bg1"/>
                </a:solidFill>
                <a:effectLst/>
                <a:latin typeface="HelveticaNeueLT Std Thin" panose="020B04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mmunications</a:t>
            </a:r>
            <a:endParaRPr lang="en-US" sz="4500" b="0" i="0" spc="0" baseline="0" dirty="0">
              <a:solidFill>
                <a:schemeClr val="bg1"/>
              </a:solidFill>
              <a:latin typeface="HelveticaNeueLT Std Thin" panose="020B0403020202020204" pitchFamily="34" charset="0"/>
            </a:endParaRPr>
          </a:p>
        </p:txBody>
      </p:sp>
      <p:pic>
        <p:nvPicPr>
          <p:cNvPr id="8" name="Picture 7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3741C834-7F1E-3B40-8DFE-2E14D2CE740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6893FE1-4E53-5B44-BA45-9C5F09684519}"/>
              </a:ext>
            </a:extLst>
          </p:cNvPr>
          <p:cNvSpPr txBox="1"/>
          <p:nvPr userDrawn="1"/>
        </p:nvSpPr>
        <p:spPr>
          <a:xfrm>
            <a:off x="3220821" y="4755983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 pitchFamily="34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74137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 Quote/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1"/>
            <a:ext cx="9144000" cy="3961003"/>
          </a:xfrm>
          <a:prstGeom prst="rect">
            <a:avLst/>
          </a:prstGeom>
          <a:solidFill>
            <a:srgbClr val="F3724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3" name="Picture 2" descr="Text&#10;&#10;Description automatically generated with medium confidence">
            <a:extLst>
              <a:ext uri="{FF2B5EF4-FFF2-40B4-BE49-F238E27FC236}">
                <a16:creationId xmlns:a16="http://schemas.microsoft.com/office/drawing/2014/main" id="{8B6432FE-8F5E-C94A-B73C-6C59B54A35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12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1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1420E10-340E-4644-AF96-739FB689676C}"/>
              </a:ext>
            </a:extLst>
          </p:cNvPr>
          <p:cNvSpPr/>
          <p:nvPr/>
        </p:nvSpPr>
        <p:spPr>
          <a:xfrm>
            <a:off x="0" y="1"/>
            <a:ext cx="9144000" cy="749401"/>
          </a:xfrm>
          <a:prstGeom prst="rect">
            <a:avLst/>
          </a:prstGeom>
          <a:solidFill>
            <a:srgbClr val="F3724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5029" y="231701"/>
            <a:ext cx="8011590" cy="4190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700" b="0" i="0" cap="none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896" y="1688952"/>
            <a:ext cx="8272211" cy="275872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Clr>
                <a:schemeClr val="accent4"/>
              </a:buClr>
              <a:buFont typeface="Arial" panose="020B0604020202020204" pitchFamily="34" charset="0"/>
              <a:buNone/>
              <a:defRPr sz="2700">
                <a:solidFill>
                  <a:srgbClr val="B9488F"/>
                </a:solidFill>
              </a:defRPr>
            </a:lvl1pPr>
            <a:lvl2pPr marL="472488" indent="-229494">
              <a:buClr>
                <a:srgbClr val="B9488F"/>
              </a:buClr>
              <a:buFont typeface="Arial" panose="020B0604020202020204" pitchFamily="34" charset="0"/>
              <a:buChar char="•"/>
              <a:defRPr sz="2400"/>
            </a:lvl2pPr>
            <a:lvl3pPr marL="674984" indent="-202495">
              <a:buClr>
                <a:srgbClr val="B9488F"/>
              </a:buClr>
              <a:buFont typeface="Arial" panose="020B0604020202020204" pitchFamily="34" charset="0"/>
              <a:buChar char="•"/>
              <a:defRPr sz="2100"/>
            </a:lvl3pPr>
            <a:lvl4pPr marL="931477" indent="-175496">
              <a:buClr>
                <a:srgbClr val="B9488F"/>
              </a:buClr>
              <a:buFont typeface="Arial" panose="020B0604020202020204" pitchFamily="34" charset="0"/>
              <a:buChar char="•"/>
              <a:defRPr sz="1800"/>
            </a:lvl4pPr>
            <a:lvl5pPr marL="1201470" indent="-175496">
              <a:buClr>
                <a:srgbClr val="B9488F"/>
              </a:buClr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E9218B4B-7836-2246-A8DC-C720678716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0941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A134C804-1CDF-0941-AB08-2E8256C3CA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803" r="31637"/>
          <a:stretch/>
        </p:blipFill>
        <p:spPr>
          <a:xfrm>
            <a:off x="4703110" y="-1"/>
            <a:ext cx="4440891" cy="51435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3B3645DA-5D53-4E43-863D-891862AF9519}"/>
              </a:ext>
            </a:extLst>
          </p:cNvPr>
          <p:cNvSpPr/>
          <p:nvPr userDrawn="1"/>
        </p:nvSpPr>
        <p:spPr>
          <a:xfrm>
            <a:off x="1" y="-1"/>
            <a:ext cx="4703109" cy="5143501"/>
          </a:xfrm>
          <a:prstGeom prst="rect">
            <a:avLst/>
          </a:prstGeom>
          <a:solidFill>
            <a:srgbClr val="B94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7B9721C-5946-9C41-B3BC-39A0AFC62AEF}"/>
              </a:ext>
            </a:extLst>
          </p:cNvPr>
          <p:cNvSpPr txBox="1"/>
          <p:nvPr userDrawn="1"/>
        </p:nvSpPr>
        <p:spPr>
          <a:xfrm>
            <a:off x="587590" y="1712405"/>
            <a:ext cx="3984410" cy="10286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342892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0" b="0" i="0" kern="1200" dirty="0">
                <a:solidFill>
                  <a:schemeClr val="bg1"/>
                </a:solidFill>
                <a:effectLst/>
                <a:latin typeface="HelveticaNeueLT Std Thin" panose="020B0403020202020204" pitchFamily="34" charset="0"/>
                <a:ea typeface="+mn-ea"/>
                <a:cs typeface="+mn-cs"/>
              </a:rPr>
              <a:t>Create a </a:t>
            </a:r>
            <a:r>
              <a:rPr lang="en-US" sz="4500" b="1" i="0" kern="1200" dirty="0">
                <a:solidFill>
                  <a:schemeClr val="bg1"/>
                </a:solidFill>
                <a:effectLst/>
                <a:latin typeface="HelveticaNeueLT Std" panose="020B0604020202020204" pitchFamily="34" charset="0"/>
                <a:ea typeface="+mn-ea"/>
                <a:cs typeface="+mn-cs"/>
              </a:rPr>
              <a:t>Sense of Belonging </a:t>
            </a:r>
            <a:endParaRPr lang="en-US" sz="4500" b="1" i="0" spc="0" baseline="0" dirty="0">
              <a:solidFill>
                <a:schemeClr val="bg1"/>
              </a:solidFill>
              <a:latin typeface="HelveticaNeueLT Std" panose="020B0604020202020204" pitchFamily="34" charset="0"/>
            </a:endParaRPr>
          </a:p>
        </p:txBody>
      </p:sp>
      <p:pic>
        <p:nvPicPr>
          <p:cNvPr id="6" name="Picture 5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F32F8A56-1CB8-F34F-B0D5-5195AD69CE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50F08B-D5C8-2042-8DC2-4295E9390AA7}"/>
              </a:ext>
            </a:extLst>
          </p:cNvPr>
          <p:cNvSpPr txBox="1"/>
          <p:nvPr userDrawn="1"/>
        </p:nvSpPr>
        <p:spPr>
          <a:xfrm>
            <a:off x="3220821" y="4755983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 pitchFamily="34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2051966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 Quote/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1"/>
            <a:ext cx="9144000" cy="3961003"/>
          </a:xfrm>
          <a:prstGeom prst="rect">
            <a:avLst/>
          </a:prstGeom>
          <a:solidFill>
            <a:srgbClr val="B94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Text&#10;&#10;Description automatically generated with medium confidence">
            <a:extLst>
              <a:ext uri="{FF2B5EF4-FFF2-40B4-BE49-F238E27FC236}">
                <a16:creationId xmlns:a16="http://schemas.microsoft.com/office/drawing/2014/main" id="{B86E6188-CD41-D64A-9D54-70C36DA6CD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5528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436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B54D61-526C-5149-A9AD-BC8652A1057D}"/>
              </a:ext>
            </a:extLst>
          </p:cNvPr>
          <p:cNvSpPr txBox="1"/>
          <p:nvPr userDrawn="1"/>
        </p:nvSpPr>
        <p:spPr>
          <a:xfrm>
            <a:off x="2" y="1596291"/>
            <a:ext cx="9143999" cy="6066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342892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100" b="1" i="0" kern="1200" dirty="0">
                <a:solidFill>
                  <a:srgbClr val="B9488F"/>
                </a:solidFill>
                <a:effectLst/>
                <a:latin typeface="HelveticaNeueLT Std" panose="020B0604020202020204" pitchFamily="34" charset="0"/>
                <a:ea typeface="+mn-ea"/>
                <a:cs typeface="+mn-cs"/>
              </a:rPr>
              <a:t>POLL:</a:t>
            </a:r>
            <a:endParaRPr lang="en-US" sz="2100" b="1" i="0" spc="0" baseline="0" dirty="0">
              <a:solidFill>
                <a:srgbClr val="B9488F"/>
              </a:solidFill>
              <a:latin typeface="HelveticaNeueLT Std" panose="020B0604020202020204" pitchFamily="34" charset="0"/>
            </a:endParaRPr>
          </a:p>
        </p:txBody>
      </p:sp>
      <p:pic>
        <p:nvPicPr>
          <p:cNvPr id="5" name="Picture 4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D903D4A4-439E-C947-9A0B-81561D3A44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B9AC2D1-531B-AA45-B30F-8A7D59DA131C}"/>
              </a:ext>
            </a:extLst>
          </p:cNvPr>
          <p:cNvSpPr txBox="1"/>
          <p:nvPr userDrawn="1"/>
        </p:nvSpPr>
        <p:spPr>
          <a:xfrm>
            <a:off x="7727266" y="4931927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61505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B94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B54D61-526C-5149-A9AD-BC8652A1057D}"/>
              </a:ext>
            </a:extLst>
          </p:cNvPr>
          <p:cNvSpPr txBox="1"/>
          <p:nvPr userDrawn="1"/>
        </p:nvSpPr>
        <p:spPr>
          <a:xfrm>
            <a:off x="2" y="1596291"/>
            <a:ext cx="9143999" cy="6066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342892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100" b="1" i="0" kern="1200" dirty="0">
                <a:solidFill>
                  <a:schemeClr val="bg1"/>
                </a:solidFill>
                <a:effectLst/>
                <a:latin typeface="HelveticaNeueLT Std" panose="020B0604020202020204" pitchFamily="34" charset="0"/>
                <a:ea typeface="+mn-ea"/>
                <a:cs typeface="+mn-cs"/>
              </a:rPr>
              <a:t>BREAKOUT:</a:t>
            </a:r>
            <a:endParaRPr lang="en-US" sz="2100" b="1" i="0" spc="0" baseline="0" dirty="0">
              <a:solidFill>
                <a:schemeClr val="bg1"/>
              </a:solidFill>
              <a:latin typeface="HelveticaNeueLT Std" panose="020B0604020202020204" pitchFamily="34" charset="0"/>
            </a:endParaRPr>
          </a:p>
        </p:txBody>
      </p:sp>
      <p:pic>
        <p:nvPicPr>
          <p:cNvPr id="5" name="Picture 4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5A4EBCE9-5D91-D04E-880D-219D02A9FE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5CE9C77-6CA5-234C-959F-9587F9CECD42}"/>
              </a:ext>
            </a:extLst>
          </p:cNvPr>
          <p:cNvSpPr txBox="1"/>
          <p:nvPr userDrawn="1"/>
        </p:nvSpPr>
        <p:spPr>
          <a:xfrm>
            <a:off x="7727266" y="4931927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2692455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break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3724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B54D61-526C-5149-A9AD-BC8652A1057D}"/>
              </a:ext>
            </a:extLst>
          </p:cNvPr>
          <p:cNvSpPr txBox="1"/>
          <p:nvPr userDrawn="1"/>
        </p:nvSpPr>
        <p:spPr>
          <a:xfrm>
            <a:off x="2" y="1596291"/>
            <a:ext cx="9143999" cy="6066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ctr" defTabSz="342892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100" b="1" i="0" kern="1200" dirty="0">
                <a:solidFill>
                  <a:schemeClr val="bg1"/>
                </a:solidFill>
                <a:effectLst/>
                <a:latin typeface="HelveticaNeueLT Std" panose="020B0604020202020204" pitchFamily="34" charset="0"/>
                <a:ea typeface="+mn-ea"/>
                <a:cs typeface="+mn-cs"/>
              </a:rPr>
              <a:t>BREAKOUT:</a:t>
            </a:r>
            <a:endParaRPr lang="en-US" sz="2100" b="1" i="0" spc="0" baseline="0" dirty="0">
              <a:solidFill>
                <a:schemeClr val="bg1"/>
              </a:solidFill>
              <a:latin typeface="HelveticaNeueLT Std" panose="020B0604020202020204" pitchFamily="34" charset="0"/>
            </a:endParaRPr>
          </a:p>
        </p:txBody>
      </p:sp>
      <p:pic>
        <p:nvPicPr>
          <p:cNvPr id="5" name="Picture 4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0BD0B84C-6C31-5243-B59B-E306AA4348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B3C0ACA-041C-9945-95A5-9E9621D7B859}"/>
              </a:ext>
            </a:extLst>
          </p:cNvPr>
          <p:cNvSpPr txBox="1"/>
          <p:nvPr userDrawn="1"/>
        </p:nvSpPr>
        <p:spPr>
          <a:xfrm>
            <a:off x="7727266" y="4931927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71384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bg with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3724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6CC74121-9E29-E942-95EF-3EB379E92A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266AF5F-6104-504E-BF36-093C47DABA88}"/>
              </a:ext>
            </a:extLst>
          </p:cNvPr>
          <p:cNvSpPr txBox="1"/>
          <p:nvPr userDrawn="1"/>
        </p:nvSpPr>
        <p:spPr>
          <a:xfrm>
            <a:off x="7727266" y="4931927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570312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G with copyright (dark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436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96C049B4-B920-964B-8DFA-BACF1D671E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C8A523E-9F5D-DB48-B780-2B689C57F67C}"/>
              </a:ext>
            </a:extLst>
          </p:cNvPr>
          <p:cNvSpPr txBox="1"/>
          <p:nvPr userDrawn="1"/>
        </p:nvSpPr>
        <p:spPr>
          <a:xfrm>
            <a:off x="7727266" y="4931927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4765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G with copyright (plu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B94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A0BF240B-64F1-2148-BCA9-F93D434D24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4EA8A45-0351-FB49-8EF2-676C64BCD83B}"/>
              </a:ext>
            </a:extLst>
          </p:cNvPr>
          <p:cNvSpPr txBox="1"/>
          <p:nvPr userDrawn="1"/>
        </p:nvSpPr>
        <p:spPr>
          <a:xfrm>
            <a:off x="7727266" y="4931927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6383772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G with copyright (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4FA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9D365CBB-16B9-B54A-AEDC-23F86991A4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3D97A21-D1D0-064D-9432-34B2F915BA07}"/>
              </a:ext>
            </a:extLst>
          </p:cNvPr>
          <p:cNvSpPr txBox="1"/>
          <p:nvPr userDrawn="1"/>
        </p:nvSpPr>
        <p:spPr>
          <a:xfrm>
            <a:off x="7727266" y="4931927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915721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6" name="Google Shape;36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2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1420E10-340E-4644-AF96-739FB689676C}"/>
              </a:ext>
            </a:extLst>
          </p:cNvPr>
          <p:cNvSpPr/>
          <p:nvPr/>
        </p:nvSpPr>
        <p:spPr>
          <a:xfrm>
            <a:off x="0" y="1"/>
            <a:ext cx="9144000" cy="749401"/>
          </a:xfrm>
          <a:prstGeom prst="rect">
            <a:avLst/>
          </a:prstGeom>
          <a:solidFill>
            <a:srgbClr val="B94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5029" y="231701"/>
            <a:ext cx="8011590" cy="4190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700" b="0" i="0" cap="none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896" y="1688952"/>
            <a:ext cx="8272211" cy="275872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Clr>
                <a:schemeClr val="accent4"/>
              </a:buClr>
              <a:buFont typeface="Arial" panose="020B0604020202020204" pitchFamily="34" charset="0"/>
              <a:buNone/>
              <a:defRPr sz="2700">
                <a:solidFill>
                  <a:srgbClr val="F37247"/>
                </a:solidFill>
              </a:defRPr>
            </a:lvl1pPr>
            <a:lvl2pPr marL="472488" indent="-229494">
              <a:buClr>
                <a:srgbClr val="F37247"/>
              </a:buClr>
              <a:buFont typeface="Arial" panose="020B0604020202020204" pitchFamily="34" charset="0"/>
              <a:buChar char="•"/>
              <a:defRPr sz="2400"/>
            </a:lvl2pPr>
            <a:lvl3pPr marL="674984" indent="-202495">
              <a:buClr>
                <a:srgbClr val="F37247"/>
              </a:buClr>
              <a:buFont typeface="Arial" panose="020B0604020202020204" pitchFamily="34" charset="0"/>
              <a:buChar char="•"/>
              <a:defRPr sz="2100"/>
            </a:lvl3pPr>
            <a:lvl4pPr marL="931477" indent="-175496">
              <a:buClr>
                <a:srgbClr val="F37247"/>
              </a:buClr>
              <a:buFont typeface="Arial" panose="020B0604020202020204" pitchFamily="34" charset="0"/>
              <a:buChar char="•"/>
              <a:defRPr sz="1800"/>
            </a:lvl4pPr>
            <a:lvl5pPr marL="1201470" indent="-175496">
              <a:buClr>
                <a:srgbClr val="F37247"/>
              </a:buClr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CFC4609E-8755-264D-8352-2AC5AB3C19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98582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D88F227E-5883-4A4B-9652-A5CF393AFF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0834" r="21606"/>
          <a:stretch/>
        </p:blipFill>
        <p:spPr>
          <a:xfrm>
            <a:off x="4703110" y="-1"/>
            <a:ext cx="4440891" cy="51435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7664B7BF-9D1D-AB49-BC9E-ACA3ACE6582C}"/>
              </a:ext>
            </a:extLst>
          </p:cNvPr>
          <p:cNvSpPr/>
          <p:nvPr userDrawn="1"/>
        </p:nvSpPr>
        <p:spPr>
          <a:xfrm>
            <a:off x="1" y="-1"/>
            <a:ext cx="4703109" cy="5143501"/>
          </a:xfrm>
          <a:prstGeom prst="rect">
            <a:avLst/>
          </a:prstGeom>
          <a:solidFill>
            <a:srgbClr val="4FA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B6127DF-1BC7-B948-9749-57777C635B18}"/>
              </a:ext>
            </a:extLst>
          </p:cNvPr>
          <p:cNvSpPr txBox="1"/>
          <p:nvPr userDrawn="1"/>
        </p:nvSpPr>
        <p:spPr>
          <a:xfrm>
            <a:off x="386296" y="1712405"/>
            <a:ext cx="4235726" cy="10286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342892" rtl="0" eaLnBrk="1" fontAlgn="auto" latinLnBrk="0" hangingPunct="1">
              <a:lnSpc>
                <a:spcPts val="4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0" b="0" i="0" kern="1200" dirty="0">
                <a:solidFill>
                  <a:schemeClr val="bg1"/>
                </a:solidFill>
                <a:effectLst/>
                <a:latin typeface="HelveticaNeueLT Std Thin" panose="020B0403020202020204" pitchFamily="34" charset="0"/>
                <a:ea typeface="+mn-ea"/>
                <a:cs typeface="+mn-cs"/>
              </a:rPr>
              <a:t>Balance </a:t>
            </a:r>
            <a:r>
              <a:rPr lang="en-US" sz="4500" b="1" i="0" kern="1200" dirty="0">
                <a:solidFill>
                  <a:schemeClr val="bg1"/>
                </a:solidFill>
                <a:effectLst/>
                <a:latin typeface="HelveticaNeueLT Std" panose="020B0604020202020204" pitchFamily="34" charset="0"/>
                <a:ea typeface="+mn-ea"/>
                <a:cs typeface="+mn-cs"/>
              </a:rPr>
              <a:t>Accountability With Flexibility </a:t>
            </a:r>
            <a:endParaRPr lang="en-US" sz="4500" b="1" i="0" spc="0" baseline="0" dirty="0">
              <a:solidFill>
                <a:schemeClr val="bg1"/>
              </a:solidFill>
              <a:latin typeface="HelveticaNeueLT Std" panose="020B0604020202020204" pitchFamily="34" charset="0"/>
            </a:endParaRPr>
          </a:p>
        </p:txBody>
      </p:sp>
      <p:pic>
        <p:nvPicPr>
          <p:cNvPr id="6" name="Picture 5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E4620F45-A410-F548-BE67-DDD98CD322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7248CA8-3876-E64B-B374-1FB56CD7F299}"/>
              </a:ext>
            </a:extLst>
          </p:cNvPr>
          <p:cNvSpPr txBox="1"/>
          <p:nvPr userDrawn="1"/>
        </p:nvSpPr>
        <p:spPr>
          <a:xfrm>
            <a:off x="3220821" y="4755983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 pitchFamily="34" charset="0"/>
                <a:cs typeface="Gotham-Light" pitchFamily="2" charset="0"/>
              </a:rPr>
              <a:t>© Franklin Covey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406850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 Quote/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2E8B7EE-9128-AC47-91AF-7C14400E0B62}"/>
              </a:ext>
            </a:extLst>
          </p:cNvPr>
          <p:cNvSpPr/>
          <p:nvPr userDrawn="1"/>
        </p:nvSpPr>
        <p:spPr>
          <a:xfrm>
            <a:off x="0" y="1"/>
            <a:ext cx="9144000" cy="3961003"/>
          </a:xfrm>
          <a:prstGeom prst="rect">
            <a:avLst/>
          </a:prstGeom>
          <a:solidFill>
            <a:srgbClr val="4FA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Text&#10;&#10;Description automatically generated with medium confidence">
            <a:extLst>
              <a:ext uri="{FF2B5EF4-FFF2-40B4-BE49-F238E27FC236}">
                <a16:creationId xmlns:a16="http://schemas.microsoft.com/office/drawing/2014/main" id="{A43D9615-0585-2648-9D0A-E03400F762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7938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3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1420E10-340E-4644-AF96-739FB689676C}"/>
              </a:ext>
            </a:extLst>
          </p:cNvPr>
          <p:cNvSpPr/>
          <p:nvPr/>
        </p:nvSpPr>
        <p:spPr>
          <a:xfrm>
            <a:off x="0" y="1"/>
            <a:ext cx="9144000" cy="749401"/>
          </a:xfrm>
          <a:prstGeom prst="rect">
            <a:avLst/>
          </a:prstGeom>
          <a:solidFill>
            <a:srgbClr val="4FA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5029" y="231701"/>
            <a:ext cx="8011590" cy="4190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700" b="0" i="0" cap="none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896" y="1688952"/>
            <a:ext cx="8272211" cy="275872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Clr>
                <a:schemeClr val="accent4"/>
              </a:buClr>
              <a:buFont typeface="Arial" panose="020B0604020202020204" pitchFamily="34" charset="0"/>
              <a:buNone/>
              <a:defRPr sz="2700">
                <a:solidFill>
                  <a:srgbClr val="4FA2D2"/>
                </a:solidFill>
              </a:defRPr>
            </a:lvl1pPr>
            <a:lvl2pPr marL="472488" indent="-229494">
              <a:buClr>
                <a:srgbClr val="4FA2D2"/>
              </a:buClr>
              <a:buFont typeface="Wingdings" pitchFamily="2" charset="2"/>
              <a:buChar char="§"/>
              <a:defRPr sz="2400"/>
            </a:lvl2pPr>
            <a:lvl3pPr marL="674984" indent="-202495">
              <a:buClr>
                <a:srgbClr val="4FA2D2"/>
              </a:buClr>
              <a:buFont typeface="Wingdings" pitchFamily="2" charset="2"/>
              <a:buChar char="§"/>
              <a:defRPr sz="2100"/>
            </a:lvl3pPr>
            <a:lvl4pPr marL="931477" indent="-175496">
              <a:buClr>
                <a:srgbClr val="4FA2D2"/>
              </a:buClr>
              <a:buFont typeface="Wingdings" pitchFamily="2" charset="2"/>
              <a:buChar char="§"/>
              <a:defRPr sz="1800"/>
            </a:lvl4pPr>
            <a:lvl5pPr marL="1201470" indent="-175496">
              <a:buClr>
                <a:srgbClr val="4FA2D2"/>
              </a:buClr>
              <a:buFont typeface="Wingdings" pitchFamily="2" charset="2"/>
              <a:buChar char="§"/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2F339339-43A8-FF4E-A172-49B4788DAF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81573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536C8-7932-6644-A966-9A875280B2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Text&#10;&#10;Description automatically generated with medium confidence">
            <a:extLst>
              <a:ext uri="{FF2B5EF4-FFF2-40B4-BE49-F238E27FC236}">
                <a16:creationId xmlns:a16="http://schemas.microsoft.com/office/drawing/2014/main" id="{F9CA8C1C-967E-504B-927A-D6B5395F8E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3665"/>
            <a:ext cx="1516380" cy="27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24111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4DB845-764A-8C47-B0D2-7578A6920B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F7AAD2E-185E-284D-A254-C205E3DD04EC}"/>
              </a:ext>
            </a:extLst>
          </p:cNvPr>
          <p:cNvSpPr/>
          <p:nvPr userDrawn="1"/>
        </p:nvSpPr>
        <p:spPr>
          <a:xfrm>
            <a:off x="2" y="1"/>
            <a:ext cx="9143999" cy="139304"/>
          </a:xfrm>
          <a:prstGeom prst="rect">
            <a:avLst/>
          </a:prstGeom>
          <a:gradFill flip="none" rotWithShape="1">
            <a:gsLst>
              <a:gs pos="20000">
                <a:srgbClr val="C00000"/>
              </a:gs>
              <a:gs pos="61000">
                <a:srgbClr val="C69D39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0D910A-E6DF-1248-82C8-F9069B5274B5}"/>
              </a:ext>
            </a:extLst>
          </p:cNvPr>
          <p:cNvSpPr/>
          <p:nvPr userDrawn="1"/>
        </p:nvSpPr>
        <p:spPr>
          <a:xfrm>
            <a:off x="0" y="371475"/>
            <a:ext cx="75438" cy="571500"/>
          </a:xfrm>
          <a:prstGeom prst="rect">
            <a:avLst/>
          </a:prstGeom>
          <a:solidFill>
            <a:srgbClr val="DA21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3E2A5E4-003F-1D4A-AFC7-5318EB6D4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79179"/>
            <a:ext cx="8229600" cy="3017520"/>
          </a:xfrm>
        </p:spPr>
        <p:txBody>
          <a:bodyPr wrap="square">
            <a:spAutoFit/>
          </a:bodyPr>
          <a:lstStyle>
            <a:lvl1pPr>
              <a:defRPr sz="2700" b="0" spc="0" baseline="0">
                <a:latin typeface="Tiempos Fine Light" panose="02020303060303060403" pitchFamily="18" charset="77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9586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160">
          <p15:clr>
            <a:srgbClr val="FBAE40"/>
          </p15:clr>
        </p15:guide>
        <p15:guide id="3" orient="horz" pos="312">
          <p15:clr>
            <a:srgbClr val="FBAE40"/>
          </p15:clr>
        </p15:guide>
        <p15:guide id="4" orient="horz" pos="792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36074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CD00E1A8-5112-324D-87FF-9DC38D7A25ED}"/>
              </a:ext>
            </a:extLst>
          </p:cNvPr>
          <p:cNvGrpSpPr/>
          <p:nvPr userDrawn="1"/>
        </p:nvGrpSpPr>
        <p:grpSpPr>
          <a:xfrm>
            <a:off x="0" y="-2"/>
            <a:ext cx="9144000" cy="5143502"/>
            <a:chOff x="0" y="-2"/>
            <a:chExt cx="12192000" cy="685800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455E072-23C2-8548-A184-4355B88FFB3A}"/>
                </a:ext>
              </a:extLst>
            </p:cNvPr>
            <p:cNvGrpSpPr/>
            <p:nvPr userDrawn="1"/>
          </p:nvGrpSpPr>
          <p:grpSpPr>
            <a:xfrm>
              <a:off x="6095999" y="-2"/>
              <a:ext cx="6096001" cy="6858002"/>
              <a:chOff x="6095999" y="-2"/>
              <a:chExt cx="6096001" cy="6858002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A51BF21E-5EBB-5A41-AF3F-2B1749718B9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/>
              <a:srcRect l="5787" t="16032" r="-42" b="7511"/>
              <a:stretch/>
            </p:blipFill>
            <p:spPr>
              <a:xfrm>
                <a:off x="6270812" y="3255819"/>
                <a:ext cx="5921188" cy="3602181"/>
              </a:xfrm>
              <a:prstGeom prst="rect">
                <a:avLst/>
              </a:prstGeom>
            </p:spPr>
          </p:pic>
          <p:pic>
            <p:nvPicPr>
              <p:cNvPr id="3" name="Picture 2" descr="A group of people in a meeting&#10;&#10;Description automatically generated with medium confidence">
                <a:extLst>
                  <a:ext uri="{FF2B5EF4-FFF2-40B4-BE49-F238E27FC236}">
                    <a16:creationId xmlns:a16="http://schemas.microsoft.com/office/drawing/2014/main" id="{58C5D4BB-B065-A841-8B8A-036391244FA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-1326" t="22161" r="5406" b="-8531"/>
              <a:stretch/>
            </p:blipFill>
            <p:spPr>
              <a:xfrm>
                <a:off x="6095999" y="-2"/>
                <a:ext cx="6093112" cy="3657600"/>
              </a:xfrm>
              <a:prstGeom prst="rect">
                <a:avLst/>
              </a:prstGeom>
            </p:spPr>
          </p:pic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06C9445-7130-F645-8C5C-19894AF44E75}"/>
                </a:ext>
              </a:extLst>
            </p:cNvPr>
            <p:cNvSpPr/>
            <p:nvPr userDrawn="1"/>
          </p:nvSpPr>
          <p:spPr>
            <a:xfrm>
              <a:off x="0" y="-2"/>
              <a:ext cx="6270812" cy="6858001"/>
            </a:xfrm>
            <a:prstGeom prst="rect">
              <a:avLst/>
            </a:prstGeom>
            <a:solidFill>
              <a:srgbClr val="2437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050" dirty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0F1F1CBE-ECF8-7947-BE3B-CB1DF05AF34E}"/>
              </a:ext>
            </a:extLst>
          </p:cNvPr>
          <p:cNvSpPr txBox="1"/>
          <p:nvPr userDrawn="1"/>
        </p:nvSpPr>
        <p:spPr>
          <a:xfrm>
            <a:off x="7727266" y="4856612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1E9D7E-3F7A-D34C-99F8-1EF246C0F2A2}"/>
              </a:ext>
            </a:extLst>
          </p:cNvPr>
          <p:cNvSpPr txBox="1"/>
          <p:nvPr userDrawn="1"/>
        </p:nvSpPr>
        <p:spPr>
          <a:xfrm>
            <a:off x="3220820" y="4755982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 pitchFamily="34" charset="0"/>
                <a:cs typeface="Gotham-Light" pitchFamily="2" charset="0"/>
              </a:rPr>
              <a:t>© Franklin Covey Co. All rights reserved.</a:t>
            </a:r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692B2B43-EEBE-F348-BF1C-D3F8A73D1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ED8F1E9-B17A-30C2-A016-A28E54ECA972}"/>
              </a:ext>
            </a:extLst>
          </p:cNvPr>
          <p:cNvSpPr txBox="1"/>
          <p:nvPr userDrawn="1"/>
        </p:nvSpPr>
        <p:spPr>
          <a:xfrm>
            <a:off x="3220820" y="4908382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Helvetica Light" panose="020B0403020202020204" pitchFamily="34" charset="0"/>
                <a:cs typeface="Gotham-Light" pitchFamily="2" charset="0"/>
              </a:rPr>
              <a:t>MRK22117750</a:t>
            </a:r>
          </a:p>
        </p:txBody>
      </p:sp>
    </p:spTree>
    <p:extLst>
      <p:ext uri="{BB962C8B-B14F-4D97-AF65-F5344CB8AC3E}">
        <p14:creationId xmlns:p14="http://schemas.microsoft.com/office/powerpoint/2010/main" val="275797864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706C9445-7130-F645-8C5C-19894AF44E75}"/>
              </a:ext>
            </a:extLst>
          </p:cNvPr>
          <p:cNvSpPr/>
          <p:nvPr userDrawn="1"/>
        </p:nvSpPr>
        <p:spPr>
          <a:xfrm>
            <a:off x="0" y="-211575"/>
            <a:ext cx="9144000" cy="5355075"/>
          </a:xfrm>
          <a:prstGeom prst="rect">
            <a:avLst/>
          </a:prstGeom>
          <a:solidFill>
            <a:srgbClr val="2437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692B2B43-EEBE-F348-BF1C-D3F8A73D1C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7C6102F-83B2-B2A4-341E-3DF219946960}"/>
              </a:ext>
            </a:extLst>
          </p:cNvPr>
          <p:cNvSpPr txBox="1"/>
          <p:nvPr userDrawn="1"/>
        </p:nvSpPr>
        <p:spPr>
          <a:xfrm>
            <a:off x="7727266" y="4931926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  <p:pic>
        <p:nvPicPr>
          <p:cNvPr id="10" name="Picture 9" descr="Qr code&#10;&#10;Description automatically generated">
            <a:extLst>
              <a:ext uri="{FF2B5EF4-FFF2-40B4-BE49-F238E27FC236}">
                <a16:creationId xmlns:a16="http://schemas.microsoft.com/office/drawing/2014/main" id="{F6E86B3D-31DA-778B-0405-FBB6D28B6C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60605" y="2345888"/>
            <a:ext cx="2106932" cy="210693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F0AF51EC-1A7D-6F59-16DF-43567DE8CCAC}"/>
              </a:ext>
            </a:extLst>
          </p:cNvPr>
          <p:cNvSpPr txBox="1"/>
          <p:nvPr userDrawn="1"/>
        </p:nvSpPr>
        <p:spPr>
          <a:xfrm>
            <a:off x="5946791" y="4544244"/>
            <a:ext cx="70104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solidFill>
                  <a:schemeClr val="bg1"/>
                </a:solidFill>
                <a:effectLst/>
                <a:latin typeface="HelveticaNeueLT Std Thin" panose="020B04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ndout</a:t>
            </a:r>
            <a:endParaRPr lang="en-US" sz="105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1F0A243-3E4A-BA9E-D5B4-A603531C7476}"/>
              </a:ext>
            </a:extLst>
          </p:cNvPr>
          <p:cNvGrpSpPr/>
          <p:nvPr userDrawn="1"/>
        </p:nvGrpSpPr>
        <p:grpSpPr>
          <a:xfrm>
            <a:off x="390702" y="1556540"/>
            <a:ext cx="4014335" cy="1798982"/>
            <a:chOff x="587437" y="2345337"/>
            <a:chExt cx="5352447" cy="177511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45AC77-5985-5326-D97A-34934D72EF1C}"/>
                </a:ext>
              </a:extLst>
            </p:cNvPr>
            <p:cNvSpPr txBox="1"/>
            <p:nvPr userDrawn="1"/>
          </p:nvSpPr>
          <p:spPr>
            <a:xfrm>
              <a:off x="587437" y="2345337"/>
              <a:ext cx="5312547" cy="137146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indent="0" algn="l" defTabSz="3429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b="0" i="0" u="none" strike="noStrike" kern="1200" dirty="0">
                  <a:solidFill>
                    <a:schemeClr val="bg1"/>
                  </a:solidFill>
                  <a:effectLst/>
                  <a:latin typeface="HelveticaNeueLT Std Lt" panose="020B0403020202020204" pitchFamily="34" charset="0"/>
                  <a:ea typeface="+mn-ea"/>
                  <a:cs typeface="+mn-cs"/>
                </a:rPr>
                <a:t>Build </a:t>
              </a:r>
              <a:r>
                <a:rPr lang="en-US" sz="3600" b="1" i="0" u="none" strike="noStrike" kern="1200" dirty="0">
                  <a:solidFill>
                    <a:schemeClr val="bg1"/>
                  </a:solidFill>
                  <a:effectLst/>
                  <a:latin typeface="HelveticaNeueLT Std" panose="020B0604020202020204" pitchFamily="34" charset="0"/>
                  <a:ea typeface="+mn-ea"/>
                  <a:cs typeface="+mn-cs"/>
                </a:rPr>
                <a:t>Resilient</a:t>
              </a:r>
              <a:r>
                <a:rPr lang="en-US" sz="3600" b="0" i="0" u="none" strike="noStrike" kern="1200" dirty="0">
                  <a:solidFill>
                    <a:schemeClr val="bg1"/>
                  </a:solidFill>
                  <a:effectLst/>
                  <a:latin typeface="HelveticaNeueLT Std Lt" panose="020B0403020202020204" pitchFamily="34" charset="0"/>
                  <a:ea typeface="+mn-ea"/>
                  <a:cs typeface="+mn-cs"/>
                </a:rPr>
                <a:t> and </a:t>
              </a:r>
              <a:r>
                <a:rPr lang="en-US" sz="3600" b="1" i="0" u="none" strike="noStrike" kern="1200" dirty="0">
                  <a:solidFill>
                    <a:schemeClr val="bg1"/>
                  </a:solidFill>
                  <a:effectLst/>
                  <a:latin typeface="HelveticaNeueLT Std" panose="020B0604020202020204" pitchFamily="34" charset="0"/>
                  <a:ea typeface="+mn-ea"/>
                  <a:cs typeface="+mn-cs"/>
                </a:rPr>
                <a:t>Engaged Hybrid Teams</a:t>
              </a:r>
              <a:endParaRPr lang="en-US" sz="3600" b="1" i="0" spc="0" baseline="0" dirty="0">
                <a:solidFill>
                  <a:schemeClr val="bg1"/>
                </a:solidFill>
                <a:latin typeface="HelveticaNeueLT Std" panose="020B060402020202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CECAC20-F3BA-A847-380F-9159D755C98C}"/>
                </a:ext>
              </a:extLst>
            </p:cNvPr>
            <p:cNvGrpSpPr/>
            <p:nvPr userDrawn="1"/>
          </p:nvGrpSpPr>
          <p:grpSpPr>
            <a:xfrm flipV="1">
              <a:off x="659547" y="4074734"/>
              <a:ext cx="5280337" cy="45719"/>
              <a:chOff x="446534" y="453643"/>
              <a:chExt cx="11298933" cy="10211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A9EF4DB7-E699-A166-90E5-B58669FC6448}"/>
                  </a:ext>
                </a:extLst>
              </p:cNvPr>
              <p:cNvSpPr/>
              <p:nvPr/>
            </p:nvSpPr>
            <p:spPr>
              <a:xfrm>
                <a:off x="446534" y="453643"/>
                <a:ext cx="3703321" cy="102111"/>
              </a:xfrm>
              <a:prstGeom prst="rect">
                <a:avLst/>
              </a:prstGeom>
              <a:solidFill>
                <a:srgbClr val="B9488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1050" dirty="0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3A9C83A1-FCE4-9873-C4FB-270F36089B59}"/>
                  </a:ext>
                </a:extLst>
              </p:cNvPr>
              <p:cNvSpPr/>
              <p:nvPr/>
            </p:nvSpPr>
            <p:spPr>
              <a:xfrm>
                <a:off x="8042146" y="453643"/>
                <a:ext cx="3703321" cy="102111"/>
              </a:xfrm>
              <a:prstGeom prst="rect">
                <a:avLst/>
              </a:prstGeom>
              <a:solidFill>
                <a:srgbClr val="4FA2D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1050" dirty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790193B6-1BF9-AE3B-0C55-8CFE649874FD}"/>
                  </a:ext>
                </a:extLst>
              </p:cNvPr>
              <p:cNvSpPr/>
              <p:nvPr/>
            </p:nvSpPr>
            <p:spPr>
              <a:xfrm>
                <a:off x="4241830" y="453643"/>
                <a:ext cx="3703321" cy="102111"/>
              </a:xfrm>
              <a:prstGeom prst="rect">
                <a:avLst/>
              </a:prstGeom>
              <a:solidFill>
                <a:srgbClr val="F3724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105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1068718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692B2B43-EEBE-F348-BF1C-D3F8A73D1C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54" y="4581769"/>
            <a:ext cx="1516380" cy="27484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7C6102F-83B2-B2A4-341E-3DF219946960}"/>
              </a:ext>
            </a:extLst>
          </p:cNvPr>
          <p:cNvSpPr txBox="1"/>
          <p:nvPr userDrawn="1"/>
        </p:nvSpPr>
        <p:spPr>
          <a:xfrm>
            <a:off x="7727266" y="4931926"/>
            <a:ext cx="1416734" cy="100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Helvetica" pitchFamily="2" charset="0"/>
                <a:cs typeface="Gotham-Light" pitchFamily="2" charset="0"/>
              </a:rPr>
              <a:t>© Franklin Covey Co. All rights reserved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6C9445-7130-F645-8C5C-19894AF44E75}"/>
              </a:ext>
            </a:extLst>
          </p:cNvPr>
          <p:cNvSpPr/>
          <p:nvPr userDrawn="1"/>
        </p:nvSpPr>
        <p:spPr>
          <a:xfrm>
            <a:off x="0" y="-211575"/>
            <a:ext cx="9144000" cy="5355075"/>
          </a:xfrm>
          <a:prstGeom prst="rect">
            <a:avLst/>
          </a:prstGeom>
          <a:solidFill>
            <a:srgbClr val="2437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05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9FC8EF-5C7A-71A4-3419-8E99358BDB87}"/>
              </a:ext>
            </a:extLst>
          </p:cNvPr>
          <p:cNvGrpSpPr/>
          <p:nvPr userDrawn="1"/>
        </p:nvGrpSpPr>
        <p:grpSpPr>
          <a:xfrm>
            <a:off x="349698" y="594093"/>
            <a:ext cx="8553935" cy="3655772"/>
            <a:chOff x="185848" y="20938"/>
            <a:chExt cx="11405246" cy="4874362"/>
          </a:xfrm>
        </p:grpSpPr>
        <p:pic>
          <p:nvPicPr>
            <p:cNvPr id="3" name="Picture 2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AF3374A0-F8A1-CFD4-CC52-AEBDDABD475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6141"/>
            <a:stretch/>
          </p:blipFill>
          <p:spPr>
            <a:xfrm>
              <a:off x="185848" y="680754"/>
              <a:ext cx="7018067" cy="3554731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76E554F4-55B0-C2C4-7F8F-1487F9DEBD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16732" y="20938"/>
              <a:ext cx="4874362" cy="48743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5998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slideLayout" Target="../slideLayouts/slideLayout61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8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11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1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896" r:id="rId3"/>
    <p:sldLayoutId id="2147483899" r:id="rId4"/>
    <p:sldLayoutId id="2147483898" r:id="rId5"/>
    <p:sldLayoutId id="2147483897" r:id="rId6"/>
    <p:sldLayoutId id="2147483902" r:id="rId7"/>
    <p:sldLayoutId id="2147483651" r:id="rId8"/>
    <p:sldLayoutId id="2147483654" r:id="rId9"/>
    <p:sldLayoutId id="2147483655" r:id="rId10"/>
    <p:sldLayoutId id="2147483656" r:id="rId11"/>
    <p:sldLayoutId id="2147483657" r:id="rId12"/>
    <p:sldLayoutId id="2147483678" r:id="rId13"/>
    <p:sldLayoutId id="2147483679" r:id="rId14"/>
    <p:sldLayoutId id="2147483680" r:id="rId15"/>
    <p:sldLayoutId id="2147483676" r:id="rId16"/>
    <p:sldLayoutId id="2147483674" r:id="rId17"/>
    <p:sldLayoutId id="2147483900" r:id="rId18"/>
    <p:sldLayoutId id="2147483901" r:id="rId19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A3D93D-20E3-519C-9171-189747D44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CFA97B-2C97-9566-912F-CE281EAF83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580F26-DC8E-C578-AC3E-A5B1825666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C486CCD-40D6-FE45-8E6B-BC5FE03731E9}" type="datetimeFigureOut">
              <a:rPr lang="en-US" smtClean="0"/>
              <a:t>10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52A-DAE2-221D-CCF5-8528FD227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E336A9-FD57-A57A-78A9-AA3E340CB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826F987-1001-2B4F-8672-19E991A78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9347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" name="Grid" hidden="1"/>
          <p:cNvGrpSpPr/>
          <p:nvPr>
            <p:custDataLst>
              <p:tags r:id="rId33"/>
            </p:custDataLst>
          </p:nvPr>
        </p:nvGrpSpPr>
        <p:grpSpPr>
          <a:xfrm>
            <a:off x="482140" y="405429"/>
            <a:ext cx="8179724" cy="4532331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</p:grpSp>
        <p:grpSp>
          <p:nvGrpSpPr>
            <p:cNvPr id="107" name="Group 106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530539">
                <a:buSzPct val="90000"/>
                <a:defRPr/>
              </a:pPr>
              <a:endParaRPr lang="en-GB" sz="926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</p:grpSp>
        <p:grpSp>
          <p:nvGrpSpPr>
            <p:cNvPr id="105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</p:grpSp>
        <p:grpSp>
          <p:nvGrpSpPr>
            <p:cNvPr id="104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</p:grpSp>
        <p:grpSp>
          <p:nvGrpSpPr>
            <p:cNvPr id="103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</p:grpSp>
        <p:grpSp>
          <p:nvGrpSpPr>
            <p:cNvPr id="101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</p:grpSp>
        <p:grpSp>
          <p:nvGrpSpPr>
            <p:cNvPr id="102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079">
                  <a:defRPr/>
                </a:pPr>
                <a:endParaRPr lang="en-GB" sz="728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2140" y="707988"/>
            <a:ext cx="8179724" cy="5567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2140" y="1361515"/>
            <a:ext cx="8179724" cy="32304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40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C75D3E6-881D-5647-AC46-4B3C79B6821C}"/>
              </a:ext>
            </a:extLst>
          </p:cNvPr>
          <p:cNvSpPr txBox="1"/>
          <p:nvPr userDrawn="1"/>
        </p:nvSpPr>
        <p:spPr>
          <a:xfrm>
            <a:off x="6866467" y="4972050"/>
            <a:ext cx="2032208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00" b="1">
                <a:solidFill>
                  <a:schemeClr val="bg1"/>
                </a:solidFill>
                <a:latin typeface="GOTHAM-BOOK" panose="02000504050000020004" pitchFamily="2" charset="0"/>
              </a:rPr>
              <a:t>DUNAMIS ORGANIZATION SERVICES | 2022</a:t>
            </a:r>
          </a:p>
        </p:txBody>
      </p:sp>
    </p:spTree>
    <p:extLst>
      <p:ext uri="{BB962C8B-B14F-4D97-AF65-F5344CB8AC3E}">
        <p14:creationId xmlns:p14="http://schemas.microsoft.com/office/powerpoint/2010/main" val="1720636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2" r:id="rId28"/>
    <p:sldLayoutId id="2147483723" r:id="rId29"/>
    <p:sldLayoutId id="2147483724" r:id="rId30"/>
    <p:sldLayoutId id="2147483725" r:id="rId31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ftr="0" dt="0"/>
  <p:txStyles>
    <p:titleStyle>
      <a:lvl1pPr algn="l" defTabSz="674235" rtl="0" eaLnBrk="1" latinLnBrk="0" hangingPunct="1">
        <a:spcBef>
          <a:spcPct val="0"/>
        </a:spcBef>
        <a:buNone/>
        <a:defRPr sz="926" b="1" i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74468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Wingdings" pitchFamily="2" charset="2"/>
        <a:buNone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155484" marR="0" indent="-151283" algn="l" defTabSz="674468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Times New Roman" pitchFamily="18" charset="0"/>
        <a:buChar char="•"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309713" marR="0" indent="-152473" algn="l" defTabSz="674468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Arial" pitchFamily="34" charset="0"/>
        <a:buChar char="-"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459803" marR="0" indent="-152473" algn="l" defTabSz="674468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Georgia" pitchFamily="18" charset="0"/>
        <a:buChar char="◦"/>
        <a:tabLst/>
        <a:defRPr sz="728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605130" marR="0" indent="-151283" algn="l" defTabSz="674468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Georgia" pitchFamily="18" charset="0"/>
        <a:buChar char="›"/>
        <a:tabLst/>
        <a:defRPr sz="72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154857" indent="-152473" algn="l" defTabSz="674235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728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309713" indent="-151283" algn="l" defTabSz="674235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728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459803" indent="-151283" algn="l" defTabSz="674235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728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674235" rtl="0" eaLnBrk="1" latinLnBrk="0" hangingPunct="1">
        <a:lnSpc>
          <a:spcPct val="100000"/>
        </a:lnSpc>
        <a:spcBef>
          <a:spcPts val="0"/>
        </a:spcBef>
        <a:spcAft>
          <a:spcPts val="397"/>
        </a:spcAft>
        <a:buFont typeface="Arial" pitchFamily="34" charset="0"/>
        <a:buNone/>
        <a:defRPr lang="en-GB" sz="728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67423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37118" algn="l" defTabSz="67423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74235" algn="l" defTabSz="67423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11353" algn="l" defTabSz="67423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48471" algn="l" defTabSz="67423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685589" algn="l" defTabSz="67423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22706" algn="l" defTabSz="67423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359825" algn="l" defTabSz="67423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696942" algn="l" defTabSz="67423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134;p26" title="SKK Migas 2025 - Template Slide (3).png">
            <a:extLst>
              <a:ext uri="{FF2B5EF4-FFF2-40B4-BE49-F238E27FC236}">
                <a16:creationId xmlns:a16="http://schemas.microsoft.com/office/drawing/2014/main" id="{E82851B1-23D7-FC50-676A-9285F1C07601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13">
            <a:alphaModFix/>
          </a:blip>
          <a:srcRect b="80281"/>
          <a:stretch/>
        </p:blipFill>
        <p:spPr>
          <a:xfrm>
            <a:off x="31530" y="0"/>
            <a:ext cx="9087878" cy="100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139885-0E95-2C81-CCE1-CBDEF87575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819807"/>
            <a:ext cx="7886700" cy="4486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8DF2FF-9033-909E-97A1-EB0961B0E7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1F6D3B-E978-EE97-03EE-26E03F7CAC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2025 | Dunamis Organization Servic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81FB49-EF9A-C368-70C2-32A5769DB1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92D7E0-9B0D-F346-6C29-03D47CCAA6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1669B7-74C0-4A40-8981-8990CC701D84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Google Shape;182;p30">
            <a:extLst>
              <a:ext uri="{FF2B5EF4-FFF2-40B4-BE49-F238E27FC236}">
                <a16:creationId xmlns:a16="http://schemas.microsoft.com/office/drawing/2014/main" id="{2105E228-CC8B-F552-5D6E-E923AB3F8566}"/>
              </a:ext>
            </a:extLst>
          </p:cNvPr>
          <p:cNvSpPr>
            <a:spLocks/>
          </p:cNvSpPr>
          <p:nvPr userDrawn="1"/>
        </p:nvSpPr>
        <p:spPr>
          <a:xfrm>
            <a:off x="7107538" y="-4222"/>
            <a:ext cx="2062800" cy="102398"/>
          </a:xfrm>
          <a:prstGeom prst="rect">
            <a:avLst/>
          </a:prstGeom>
          <a:solidFill>
            <a:srgbClr val="BED630"/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00"/>
          </a:p>
        </p:txBody>
      </p:sp>
      <p:sp>
        <p:nvSpPr>
          <p:cNvPr id="18" name="Google Shape;183;p30">
            <a:extLst>
              <a:ext uri="{FF2B5EF4-FFF2-40B4-BE49-F238E27FC236}">
                <a16:creationId xmlns:a16="http://schemas.microsoft.com/office/drawing/2014/main" id="{2155E0F3-7A22-8BA7-1242-9068634B4328}"/>
              </a:ext>
            </a:extLst>
          </p:cNvPr>
          <p:cNvSpPr>
            <a:spLocks/>
          </p:cNvSpPr>
          <p:nvPr userDrawn="1"/>
        </p:nvSpPr>
        <p:spPr>
          <a:xfrm>
            <a:off x="0" y="2020"/>
            <a:ext cx="7190509" cy="100373"/>
          </a:xfrm>
          <a:prstGeom prst="rect">
            <a:avLst/>
          </a:prstGeom>
          <a:solidFill>
            <a:srgbClr val="EA292B"/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00"/>
          </a:p>
        </p:txBody>
      </p:sp>
      <p:sp>
        <p:nvSpPr>
          <p:cNvPr id="19" name="Google Shape;184;p30">
            <a:extLst>
              <a:ext uri="{FF2B5EF4-FFF2-40B4-BE49-F238E27FC236}">
                <a16:creationId xmlns:a16="http://schemas.microsoft.com/office/drawing/2014/main" id="{B8D067E0-A9FA-EEDB-1448-7DC505260E56}"/>
              </a:ext>
            </a:extLst>
          </p:cNvPr>
          <p:cNvSpPr>
            <a:spLocks/>
          </p:cNvSpPr>
          <p:nvPr userDrawn="1"/>
        </p:nvSpPr>
        <p:spPr>
          <a:xfrm>
            <a:off x="2771238" y="-1"/>
            <a:ext cx="1512000" cy="102394"/>
          </a:xfrm>
          <a:prstGeom prst="rect">
            <a:avLst/>
          </a:prstGeom>
          <a:solidFill>
            <a:srgbClr val="F9AF41"/>
          </a:solidFill>
          <a:ln>
            <a:noFill/>
          </a:ln>
        </p:spPr>
        <p:txBody>
          <a:bodyPr spcFirstLastPara="1" wrap="square" lIns="45713" tIns="22850" rIns="45713" bIns="228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00"/>
          </a:p>
        </p:txBody>
      </p:sp>
    </p:spTree>
    <p:extLst>
      <p:ext uri="{BB962C8B-B14F-4D97-AF65-F5344CB8AC3E}">
        <p14:creationId xmlns:p14="http://schemas.microsoft.com/office/powerpoint/2010/main" val="4124529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</p:sldLayoutIdLst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6CC9538-BA49-21F4-62C3-7B0E96965645}"/>
              </a:ext>
            </a:extLst>
          </p:cNvPr>
          <p:cNvSpPr txBox="1"/>
          <p:nvPr userDrawn="1"/>
        </p:nvSpPr>
        <p:spPr>
          <a:xfrm>
            <a:off x="5111603" y="4831775"/>
            <a:ext cx="3959661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F316CF-A39A-044D-A9CE-36AF59FCD20C}" type="slidenum">
              <a:rPr lang="en-US" sz="450" b="1" i="0" smtClean="0">
                <a:solidFill>
                  <a:srgbClr val="2A5196"/>
                </a:solidFill>
                <a:latin typeface="GOTHAM-BOOK" panose="02000504050000020004" pitchFamily="2" charset="0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450" b="1" i="0" dirty="0">
                <a:solidFill>
                  <a:srgbClr val="2A5196"/>
                </a:solidFill>
                <a:latin typeface="GOTHAM-BOOK" panose="02000504050000020004" pitchFamily="2" charset="0"/>
              </a:rPr>
              <a:t> | DUNAMIS ORGANIZATION SERVICES 2025</a:t>
            </a:r>
          </a:p>
        </p:txBody>
      </p:sp>
    </p:spTree>
    <p:extLst>
      <p:ext uri="{BB962C8B-B14F-4D97-AF65-F5344CB8AC3E}">
        <p14:creationId xmlns:p14="http://schemas.microsoft.com/office/powerpoint/2010/main" val="3472814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  <p:sldLayoutId id="2147483919" r:id="rId16"/>
    <p:sldLayoutId id="2147483920" r:id="rId17"/>
    <p:sldLayoutId id="2147483921" r:id="rId18"/>
    <p:sldLayoutId id="2147483922" r:id="rId19"/>
    <p:sldLayoutId id="2147483923" r:id="rId20"/>
    <p:sldLayoutId id="2147483924" r:id="rId21"/>
    <p:sldLayoutId id="2147483925" r:id="rId22"/>
    <p:sldLayoutId id="2147483926" r:id="rId23"/>
  </p:sldLayoutIdLst>
  <p:txStyles>
    <p:titleStyle>
      <a:lvl1pPr algn="l" defTabSz="342892" rtl="0" eaLnBrk="1" latinLnBrk="0" hangingPunct="1">
        <a:spcBef>
          <a:spcPct val="0"/>
        </a:spcBef>
        <a:buNone/>
        <a:defRPr sz="2100" b="0" i="0" kern="1200" cap="all">
          <a:solidFill>
            <a:schemeClr val="bg1"/>
          </a:solidFill>
          <a:latin typeface="Helvetica" pitchFamily="2" charset="0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9494" indent="-229494" algn="l" defTabSz="342892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350" b="0" i="0" kern="1200">
          <a:solidFill>
            <a:schemeClr val="tx2"/>
          </a:solidFill>
          <a:latin typeface="Helvetica" pitchFamily="2" charset="0"/>
          <a:ea typeface="+mn-ea"/>
          <a:cs typeface="+mn-cs"/>
        </a:defRPr>
      </a:lvl1pPr>
      <a:lvl2pPr marL="472488" indent="-229494" algn="l" defTabSz="342892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b="0" i="0" kern="1200">
          <a:solidFill>
            <a:schemeClr val="tx2"/>
          </a:solidFill>
          <a:latin typeface="Helvetica" pitchFamily="2" charset="0"/>
          <a:ea typeface="+mn-ea"/>
          <a:cs typeface="+mn-cs"/>
        </a:defRPr>
      </a:lvl2pPr>
      <a:lvl3pPr marL="674984" indent="-202495" algn="l" defTabSz="342892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050" b="0" i="0" kern="1200">
          <a:solidFill>
            <a:schemeClr val="tx2"/>
          </a:solidFill>
          <a:latin typeface="Helvetica" pitchFamily="2" charset="0"/>
          <a:ea typeface="+mn-ea"/>
          <a:cs typeface="+mn-cs"/>
        </a:defRPr>
      </a:lvl3pPr>
      <a:lvl4pPr marL="931477" indent="-175496" algn="l" defTabSz="342892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b="0" i="0" kern="1200">
          <a:solidFill>
            <a:schemeClr val="tx2"/>
          </a:solidFill>
          <a:latin typeface="Helvetica" pitchFamily="2" charset="0"/>
          <a:ea typeface="+mn-ea"/>
          <a:cs typeface="+mn-cs"/>
        </a:defRPr>
      </a:lvl4pPr>
      <a:lvl5pPr marL="1201470" indent="-175496" algn="l" defTabSz="342892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b="0" i="0" kern="1200">
          <a:solidFill>
            <a:schemeClr val="tx2"/>
          </a:solidFill>
          <a:latin typeface="Helvetica" pitchFamily="2" charset="0"/>
          <a:ea typeface="+mn-ea"/>
          <a:cs typeface="+mn-cs"/>
        </a:defRPr>
      </a:lvl5pPr>
      <a:lvl6pPr marL="1424965" indent="-171446" algn="l" defTabSz="342892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649959" indent="-171446" algn="l" defTabSz="342892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874954" indent="-171446" algn="l" defTabSz="342892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2099948" indent="-171446" algn="l" defTabSz="342892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6CC9538-BA49-21F4-62C3-7B0E96965645}"/>
              </a:ext>
            </a:extLst>
          </p:cNvPr>
          <p:cNvSpPr txBox="1"/>
          <p:nvPr userDrawn="1"/>
        </p:nvSpPr>
        <p:spPr>
          <a:xfrm>
            <a:off x="5111603" y="4831774"/>
            <a:ext cx="3959661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F316CF-A39A-044D-A9CE-36AF59FCD20C}" type="slidenum">
              <a:rPr lang="en-US" sz="450" b="1" i="0" smtClean="0">
                <a:solidFill>
                  <a:srgbClr val="2A5196"/>
                </a:solidFill>
                <a:latin typeface="GOTHAM-BOOK" panose="02000504050000020004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450" b="1" i="0" dirty="0">
                <a:solidFill>
                  <a:srgbClr val="2A5196"/>
                </a:solidFill>
                <a:latin typeface="GOTHAM-BOOK" panose="02000504050000020004" pitchFamily="2" charset="0"/>
              </a:rPr>
              <a:t> | DUNAMIS ORGANIZATION SERVICES 2025</a:t>
            </a:r>
          </a:p>
        </p:txBody>
      </p:sp>
    </p:spTree>
    <p:extLst>
      <p:ext uri="{BB962C8B-B14F-4D97-AF65-F5344CB8AC3E}">
        <p14:creationId xmlns:p14="http://schemas.microsoft.com/office/powerpoint/2010/main" val="3177482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  <p:sldLayoutId id="2147483942" r:id="rId15"/>
    <p:sldLayoutId id="2147483943" r:id="rId16"/>
    <p:sldLayoutId id="2147483944" r:id="rId17"/>
    <p:sldLayoutId id="2147483945" r:id="rId18"/>
    <p:sldLayoutId id="2147483946" r:id="rId19"/>
    <p:sldLayoutId id="2147483947" r:id="rId20"/>
    <p:sldLayoutId id="2147483948" r:id="rId21"/>
    <p:sldLayoutId id="2147483949" r:id="rId22"/>
    <p:sldLayoutId id="2147483950" r:id="rId23"/>
  </p:sldLayoutIdLst>
  <p:txStyles>
    <p:titleStyle>
      <a:lvl1pPr algn="l" defTabSz="342900" rtl="0" eaLnBrk="1" latinLnBrk="0" hangingPunct="1">
        <a:spcBef>
          <a:spcPct val="0"/>
        </a:spcBef>
        <a:buNone/>
        <a:defRPr sz="2100" b="0" i="0" kern="1200" cap="all">
          <a:solidFill>
            <a:schemeClr val="bg1"/>
          </a:solidFill>
          <a:latin typeface="Helvetica" pitchFamily="2" charset="0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9500" indent="-22950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350" b="0" i="0" kern="1200">
          <a:solidFill>
            <a:schemeClr val="tx2"/>
          </a:solidFill>
          <a:latin typeface="Helvetica" pitchFamily="2" charset="0"/>
          <a:ea typeface="+mn-ea"/>
          <a:cs typeface="+mn-cs"/>
        </a:defRPr>
      </a:lvl1pPr>
      <a:lvl2pPr marL="472500" indent="-22950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b="0" i="0" kern="1200">
          <a:solidFill>
            <a:schemeClr val="tx2"/>
          </a:solidFill>
          <a:latin typeface="Helvetica" pitchFamily="2" charset="0"/>
          <a:ea typeface="+mn-ea"/>
          <a:cs typeface="+mn-cs"/>
        </a:defRPr>
      </a:lvl2pPr>
      <a:lvl3pPr marL="675000" indent="-20250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050" b="0" i="0" kern="1200">
          <a:solidFill>
            <a:schemeClr val="tx2"/>
          </a:solidFill>
          <a:latin typeface="Helvetica" pitchFamily="2" charset="0"/>
          <a:ea typeface="+mn-ea"/>
          <a:cs typeface="+mn-cs"/>
        </a:defRPr>
      </a:lvl3pPr>
      <a:lvl4pPr marL="931500" indent="-17550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b="0" i="0" kern="1200">
          <a:solidFill>
            <a:schemeClr val="tx2"/>
          </a:solidFill>
          <a:latin typeface="Helvetica" pitchFamily="2" charset="0"/>
          <a:ea typeface="+mn-ea"/>
          <a:cs typeface="+mn-cs"/>
        </a:defRPr>
      </a:lvl4pPr>
      <a:lvl5pPr marL="1201500" indent="-17550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b="0" i="0" kern="1200">
          <a:solidFill>
            <a:schemeClr val="tx2"/>
          </a:solidFill>
          <a:latin typeface="Helvetica" pitchFamily="2" charset="0"/>
          <a:ea typeface="+mn-ea"/>
          <a:cs typeface="+mn-cs"/>
        </a:defRPr>
      </a:lvl5pPr>
      <a:lvl6pPr marL="142500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65000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87500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210000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91126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  <p:sldLayoutId id="2147483971" r:id="rId20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8.xml"/><Relationship Id="rId5" Type="http://schemas.openxmlformats.org/officeDocument/2006/relationships/image" Target="../media/image32.emf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8.xml"/><Relationship Id="rId5" Type="http://schemas.openxmlformats.org/officeDocument/2006/relationships/image" Target="../media/image32.emf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8.xml"/><Relationship Id="rId5" Type="http://schemas.openxmlformats.org/officeDocument/2006/relationships/image" Target="../media/image32.emf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8.xml"/><Relationship Id="rId5" Type="http://schemas.openxmlformats.org/officeDocument/2006/relationships/image" Target="../media/image32.emf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FFBBD3-202D-4323-81D7-666650B27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95228" y="1187921"/>
            <a:ext cx="6380061" cy="2052600"/>
          </a:xfrm>
        </p:spPr>
        <p:txBody>
          <a:bodyPr/>
          <a:lstStyle/>
          <a:p>
            <a:pPr algn="l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CO-MISSIONING PROGRAM:</a:t>
            </a:r>
            <a:br>
              <a:rPr lang="en-US" sz="1600" dirty="0">
                <a:solidFill>
                  <a:schemeClr val="bg2">
                    <a:lumMod val="75000"/>
                  </a:schemeClr>
                </a:solidFill>
                <a:latin typeface="Montserrat" pitchFamily="2" charset="77"/>
              </a:rPr>
            </a:br>
            <a:r>
              <a:rPr lang="en-US" sz="3200" b="1" dirty="0">
                <a:latin typeface="Montserrat" pitchFamily="2" charset="77"/>
              </a:rPr>
              <a:t>FROM VALUES TO CORPORATE CUL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6B1B1E-DAA1-94B8-5481-545AE85E20A6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2214077" y="2313132"/>
            <a:ext cx="6380054" cy="792600"/>
          </a:xfrm>
        </p:spPr>
        <p:txBody>
          <a:bodyPr/>
          <a:lstStyle/>
          <a:p>
            <a:pPr marL="114300" indent="0" algn="l">
              <a:buNone/>
            </a:pPr>
            <a:r>
              <a:rPr lang="en-US" sz="1600" b="1" dirty="0">
                <a:solidFill>
                  <a:srgbClr val="EE272F"/>
                </a:solidFill>
                <a:latin typeface="Montserrat" pitchFamily="2" charset="77"/>
              </a:rPr>
              <a:t>IMPLEMENTASI 4 MINGGU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647B2F2-DAE0-20F4-CF26-1E84A1CB589B}"/>
              </a:ext>
            </a:extLst>
          </p:cNvPr>
          <p:cNvSpPr/>
          <p:nvPr/>
        </p:nvSpPr>
        <p:spPr>
          <a:xfrm>
            <a:off x="5404104" y="3611880"/>
            <a:ext cx="3739896" cy="630936"/>
          </a:xfrm>
          <a:prstGeom prst="rect">
            <a:avLst/>
          </a:prstGeom>
          <a:solidFill>
            <a:srgbClr val="EB000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latin typeface="Poppins" pitchFamily="2" charset="77"/>
                <a:cs typeface="Poppins" pitchFamily="2" charset="77"/>
              </a:rPr>
              <a:t>NAMA:</a:t>
            </a:r>
          </a:p>
        </p:txBody>
      </p:sp>
    </p:spTree>
    <p:extLst>
      <p:ext uri="{BB962C8B-B14F-4D97-AF65-F5344CB8AC3E}">
        <p14:creationId xmlns:p14="http://schemas.microsoft.com/office/powerpoint/2010/main" val="271550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36246FFA-CCE4-D5B0-7BC1-80B703258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DA935687-C394-B554-7740-99CAC20F05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07CAEE2E-48D7-EDE3-606C-CBD7B72763CB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1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Values Discussion Nilai “LINCAH” </a:t>
            </a:r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4FF1C04E-A1CD-7BA8-146E-08F677E570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graphicFrame>
        <p:nvGraphicFramePr>
          <p:cNvPr id="6" name="Google Shape;1325;p43">
            <a:extLst>
              <a:ext uri="{FF2B5EF4-FFF2-40B4-BE49-F238E27FC236}">
                <a16:creationId xmlns:a16="http://schemas.microsoft.com/office/drawing/2014/main" id="{41658E62-6D9F-C91C-6793-392608194C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5921898"/>
              </p:ext>
            </p:extLst>
          </p:nvPr>
        </p:nvGraphicFramePr>
        <p:xfrm>
          <a:off x="3558209" y="1201918"/>
          <a:ext cx="5204791" cy="336156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680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244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911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Waktu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laksana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engap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values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ini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ting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endukung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erj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tim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erap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pada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onteks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internal customers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erap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pada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onteks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external customers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911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Respo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serta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409EAC6-CB24-4629-1765-6F8BFD00CD68}"/>
              </a:ext>
            </a:extLst>
          </p:cNvPr>
          <p:cNvSpPr/>
          <p:nvPr/>
        </p:nvSpPr>
        <p:spPr>
          <a:xfrm>
            <a:off x="-121918" y="1093249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b="1" dirty="0">
                <a:latin typeface="Poppins" pitchFamily="2" charset="77"/>
                <a:cs typeface="Poppins" pitchFamily="2" charset="77"/>
              </a:rPr>
              <a:t>GROU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5FC4F7-6352-47C4-C2D1-3F8351FF4CF7}"/>
              </a:ext>
            </a:extLst>
          </p:cNvPr>
          <p:cNvSpPr/>
          <p:nvPr/>
        </p:nvSpPr>
        <p:spPr>
          <a:xfrm>
            <a:off x="361075" y="1933511"/>
            <a:ext cx="2620663" cy="189837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 err="1">
                <a:latin typeface="Poppins" pitchFamily="2" charset="77"/>
                <a:cs typeface="Poppins" pitchFamily="2" charset="77"/>
              </a:rPr>
              <a:t>Dokumentasi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pelaksanaan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(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jika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ada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)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dapat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diletakkan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di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sini</a:t>
            </a:r>
            <a:endParaRPr lang="en-US" sz="1100" i="1" dirty="0"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44890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6FE44055-3179-DCAE-532D-0064299CDA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872C84D0-A0A1-F275-0940-BE1FBC7196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53E6DC14-2846-EB12-4287-1DCFD153976E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1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Penerap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 Pribadi Nilai “LINCAH”</a:t>
            </a:r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CF752100-0BAA-8388-5C33-5717EA3452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D9D52656-7783-0737-AE25-23926AFEDD18}"/>
              </a:ext>
            </a:extLst>
          </p:cNvPr>
          <p:cNvSpPr/>
          <p:nvPr/>
        </p:nvSpPr>
        <p:spPr>
          <a:xfrm>
            <a:off x="-121918" y="1093249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b="1" dirty="0">
                <a:latin typeface="Poppins" pitchFamily="2" charset="77"/>
                <a:cs typeface="Poppins" pitchFamily="2" charset="77"/>
              </a:rPr>
              <a:t>INDIVIDU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C1EB918-F443-333D-EAD1-8ABAD718EA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3593913"/>
              </p:ext>
            </p:extLst>
          </p:nvPr>
        </p:nvGraphicFramePr>
        <p:xfrm>
          <a:off x="582437" y="1645130"/>
          <a:ext cx="7975154" cy="1923016"/>
        </p:xfrm>
        <a:graphic>
          <a:graphicData uri="http://schemas.openxmlformats.org/drawingml/2006/table">
            <a:tbl>
              <a:tblPr firstRow="1" bandRow="1">
                <a:tableStyleId>{B788A828-7A5F-42DE-AED1-21EF66E0FF09}</a:tableStyleId>
              </a:tblPr>
              <a:tblGrid>
                <a:gridCol w="2717873">
                  <a:extLst>
                    <a:ext uri="{9D8B030D-6E8A-4147-A177-3AD203B41FA5}">
                      <a16:colId xmlns:a16="http://schemas.microsoft.com/office/drawing/2014/main" val="1547421935"/>
                    </a:ext>
                  </a:extLst>
                </a:gridCol>
                <a:gridCol w="1612487">
                  <a:extLst>
                    <a:ext uri="{9D8B030D-6E8A-4147-A177-3AD203B41FA5}">
                      <a16:colId xmlns:a16="http://schemas.microsoft.com/office/drawing/2014/main" val="3158826452"/>
                    </a:ext>
                  </a:extLst>
                </a:gridCol>
                <a:gridCol w="3644794">
                  <a:extLst>
                    <a:ext uri="{9D8B030D-6E8A-4147-A177-3AD203B41FA5}">
                      <a16:colId xmlns:a16="http://schemas.microsoft.com/office/drawing/2014/main" val="1311639766"/>
                    </a:ext>
                  </a:extLst>
                </a:gridCol>
              </a:tblGrid>
              <a:tr h="501858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TANTANGAN YANG DITEMUI </a:t>
                      </a:r>
                    </a:p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DALAM MINGGU IN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KEYWOR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AKSI PROAKTIF DALAM LINGKARAN PENGARUH YANG SAYA LAKUKA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7692830"/>
                  </a:ext>
                </a:extLst>
              </a:tr>
              <a:tr h="710579">
                <a:tc rowSpan="2">
                  <a:txBody>
                    <a:bodyPr/>
                    <a:lstStyle/>
                    <a:p>
                      <a:pPr algn="l" rtl="0" fontAlgn="ctr"/>
                      <a:endParaRPr lang="en-ID" sz="700" b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i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281230"/>
                  </a:ext>
                </a:extLst>
              </a:tr>
              <a:tr h="710579">
                <a:tc vMerge="1">
                  <a:txBody>
                    <a:bodyPr/>
                    <a:lstStyle/>
                    <a:p>
                      <a:pPr algn="l" rtl="0" fontAlgn="ctr"/>
                      <a:endParaRPr lang="en-ID" sz="800" b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i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03681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31951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36CBF69E-CD48-4A2F-0DAC-07B4970905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D9A0BFA-D172-89F9-D081-980ADA14E0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F6DE3F4E-0CE7-FA6C-6868-E92A7FE4874C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2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CAC14D7-A03B-4108-4BE1-3B3450718A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805955"/>
              </p:ext>
            </p:extLst>
          </p:nvPr>
        </p:nvGraphicFramePr>
        <p:xfrm>
          <a:off x="3600450" y="1125524"/>
          <a:ext cx="4887199" cy="3268980"/>
        </p:xfrm>
        <a:graphic>
          <a:graphicData uri="http://schemas.openxmlformats.org/drawingml/2006/table">
            <a:tbl>
              <a:tblPr firstRow="1" bandRow="1"/>
              <a:tblGrid>
                <a:gridCol w="4887199">
                  <a:extLst>
                    <a:ext uri="{9D8B030D-6E8A-4147-A177-3AD203B41FA5}">
                      <a16:colId xmlns:a16="http://schemas.microsoft.com/office/drawing/2014/main" val="2350897903"/>
                    </a:ext>
                  </a:extLst>
                </a:gridCol>
              </a:tblGrid>
              <a:tr h="398264"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MINGGU 2</a:t>
                      </a:r>
                    </a:p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(20-24 Oktober 2025)</a:t>
                      </a:r>
                      <a:endParaRPr lang="en-US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80305"/>
                  </a:ext>
                </a:extLst>
              </a:tr>
              <a:tr h="2781318">
                <a:tc>
                  <a:txBody>
                    <a:bodyPr/>
                    <a:lstStyle/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S DISCUSSION: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haring pa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en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MAH. </a:t>
                      </a:r>
                      <a:r>
                        <a:rPr lang="en-US" sz="1000" b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laskan</a:t>
                      </a:r>
                      <a:r>
                        <a:rPr lang="en-US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maksud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 Ap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j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d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ey words dan do’s and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’t’s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u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ndu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laku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ap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aiman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terap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nteks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nit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j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s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10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nal dan external customers.</a:t>
                      </a: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tu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(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Langkah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aktif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erap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”RAMAH”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wab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ntang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kerja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di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jal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cap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il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Keywords mana yang pali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manfaa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?</a:t>
                      </a:r>
                    </a:p>
                    <a:p>
                      <a:pPr marL="171450" marR="0" lvl="0" indent="-1714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inja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mbal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meta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ggot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dasar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rek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hadap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ubah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butuh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n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ah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identifikas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las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belumny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lih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(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orang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ur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pali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dorong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er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gera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uj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ubah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bih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i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171450" marR="0" lvl="0" indent="-1714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 err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438490"/>
                  </a:ext>
                </a:extLst>
              </a:tr>
            </a:tbl>
          </a:graphicData>
        </a:graphic>
      </p:graphicFrame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77B32AA-0DBE-858F-B931-B7B0BBE9D4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9591370-2379-336B-DDBC-810BBDBF80C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5517" t="-1064" r="53170" b="1064"/>
          <a:stretch>
            <a:fillRect/>
          </a:stretch>
        </p:blipFill>
        <p:spPr>
          <a:xfrm>
            <a:off x="713064" y="1169017"/>
            <a:ext cx="1972986" cy="3093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4478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53430E08-4E6D-69A6-D9CD-EC4417E5B0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8F2F22DE-8EE9-408F-32E1-96B5AC897D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1E7293CB-9BD7-0B2D-D98C-B1546CA98A2B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2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Values Discussion Nilai “RAMAH” </a:t>
            </a:r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777BF028-0A6A-766C-2B83-142A6DA796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DF513A1-7E38-BB75-1F20-AEEF7F9E1EB5}"/>
              </a:ext>
            </a:extLst>
          </p:cNvPr>
          <p:cNvSpPr/>
          <p:nvPr/>
        </p:nvSpPr>
        <p:spPr>
          <a:xfrm>
            <a:off x="-121918" y="1093249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GROUP</a:t>
            </a:r>
          </a:p>
        </p:txBody>
      </p:sp>
      <p:graphicFrame>
        <p:nvGraphicFramePr>
          <p:cNvPr id="9" name="Google Shape;1325;p43">
            <a:extLst>
              <a:ext uri="{FF2B5EF4-FFF2-40B4-BE49-F238E27FC236}">
                <a16:creationId xmlns:a16="http://schemas.microsoft.com/office/drawing/2014/main" id="{1B3DF394-8B6B-66D5-F691-BB64920C79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4350044"/>
              </p:ext>
            </p:extLst>
          </p:nvPr>
        </p:nvGraphicFramePr>
        <p:xfrm>
          <a:off x="3558209" y="1201918"/>
          <a:ext cx="5204791" cy="336156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680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244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911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Waktu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laksana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engap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values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ini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ting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endukung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erj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tim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erap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pada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onteks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internal customers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erap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pada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onteks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external customers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911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Respo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serta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B4840306-DE58-813D-546A-E3F700E7CDED}"/>
              </a:ext>
            </a:extLst>
          </p:cNvPr>
          <p:cNvSpPr/>
          <p:nvPr/>
        </p:nvSpPr>
        <p:spPr>
          <a:xfrm>
            <a:off x="361075" y="1933511"/>
            <a:ext cx="2620663" cy="189837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 err="1">
                <a:latin typeface="Poppins" pitchFamily="2" charset="77"/>
                <a:cs typeface="Poppins" pitchFamily="2" charset="77"/>
              </a:rPr>
              <a:t>Dokumentasi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pelaksanaan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(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jika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ada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)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dapat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diletakkan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di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sini</a:t>
            </a:r>
            <a:endParaRPr lang="en-US" sz="1100" i="1" dirty="0"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18889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557DAEFF-38C2-71DD-7AA7-4624B0372C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D3B66B0A-B676-765D-950F-10DDCC6A9B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E9CD2CEE-1E2A-0ABD-C9A3-B9BD8810B8BC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2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Penerap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 Pribadi Nilai “RAMAH”</a:t>
            </a:r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A8AEECEC-41C7-E280-245A-77517E937D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8DFC2DE-080B-5870-0418-FC2820886E04}"/>
              </a:ext>
            </a:extLst>
          </p:cNvPr>
          <p:cNvSpPr/>
          <p:nvPr/>
        </p:nvSpPr>
        <p:spPr>
          <a:xfrm>
            <a:off x="-121918" y="1093249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INDIVIDU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EDF2CFE-8A87-F4D6-9F93-C11CF8E23EB3}"/>
              </a:ext>
            </a:extLst>
          </p:cNvPr>
          <p:cNvGraphicFramePr>
            <a:graphicFrameLocks noGrp="1"/>
          </p:cNvGraphicFramePr>
          <p:nvPr/>
        </p:nvGraphicFramePr>
        <p:xfrm>
          <a:off x="582437" y="1645130"/>
          <a:ext cx="7975154" cy="1923016"/>
        </p:xfrm>
        <a:graphic>
          <a:graphicData uri="http://schemas.openxmlformats.org/drawingml/2006/table">
            <a:tbl>
              <a:tblPr firstRow="1" bandRow="1">
                <a:tableStyleId>{B788A828-7A5F-42DE-AED1-21EF66E0FF09}</a:tableStyleId>
              </a:tblPr>
              <a:tblGrid>
                <a:gridCol w="2717873">
                  <a:extLst>
                    <a:ext uri="{9D8B030D-6E8A-4147-A177-3AD203B41FA5}">
                      <a16:colId xmlns:a16="http://schemas.microsoft.com/office/drawing/2014/main" val="1547421935"/>
                    </a:ext>
                  </a:extLst>
                </a:gridCol>
                <a:gridCol w="1612487">
                  <a:extLst>
                    <a:ext uri="{9D8B030D-6E8A-4147-A177-3AD203B41FA5}">
                      <a16:colId xmlns:a16="http://schemas.microsoft.com/office/drawing/2014/main" val="3158826452"/>
                    </a:ext>
                  </a:extLst>
                </a:gridCol>
                <a:gridCol w="3644794">
                  <a:extLst>
                    <a:ext uri="{9D8B030D-6E8A-4147-A177-3AD203B41FA5}">
                      <a16:colId xmlns:a16="http://schemas.microsoft.com/office/drawing/2014/main" val="1311639766"/>
                    </a:ext>
                  </a:extLst>
                </a:gridCol>
              </a:tblGrid>
              <a:tr h="501858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TANTANGAN YANG DITEMUI </a:t>
                      </a:r>
                    </a:p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DALAM MINGGU IN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KEYWOR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AKSI PROAKTIF DALAM LINGKARAN PENGARUH YANG SAYA LAKUKA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7692830"/>
                  </a:ext>
                </a:extLst>
              </a:tr>
              <a:tr h="710579">
                <a:tc rowSpan="2">
                  <a:txBody>
                    <a:bodyPr/>
                    <a:lstStyle/>
                    <a:p>
                      <a:pPr algn="l" rtl="0" fontAlgn="ctr"/>
                      <a:endParaRPr lang="en-ID" sz="700" b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i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281230"/>
                  </a:ext>
                </a:extLst>
              </a:tr>
              <a:tr h="710579">
                <a:tc vMerge="1">
                  <a:txBody>
                    <a:bodyPr/>
                    <a:lstStyle/>
                    <a:p>
                      <a:pPr algn="l" rtl="0" fontAlgn="ctr"/>
                      <a:endParaRPr lang="en-ID" sz="800" b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i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03681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96388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193635D-A4D5-DF59-DBE2-68242AC318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2918841"/>
              </p:ext>
            </p:extLst>
          </p:nvPr>
        </p:nvGraphicFramePr>
        <p:xfrm>
          <a:off x="344556" y="1630017"/>
          <a:ext cx="8454888" cy="3058327"/>
        </p:xfrm>
        <a:graphic>
          <a:graphicData uri="http://schemas.openxmlformats.org/drawingml/2006/table">
            <a:tbl>
              <a:tblPr firstRow="1" bandRow="1"/>
              <a:tblGrid>
                <a:gridCol w="1370275">
                  <a:extLst>
                    <a:ext uri="{9D8B030D-6E8A-4147-A177-3AD203B41FA5}">
                      <a16:colId xmlns:a16="http://schemas.microsoft.com/office/drawing/2014/main" val="1785225616"/>
                    </a:ext>
                  </a:extLst>
                </a:gridCol>
                <a:gridCol w="2529178">
                  <a:extLst>
                    <a:ext uri="{9D8B030D-6E8A-4147-A177-3AD203B41FA5}">
                      <a16:colId xmlns:a16="http://schemas.microsoft.com/office/drawing/2014/main" val="2628437964"/>
                    </a:ext>
                  </a:extLst>
                </a:gridCol>
                <a:gridCol w="218661">
                  <a:extLst>
                    <a:ext uri="{9D8B030D-6E8A-4147-A177-3AD203B41FA5}">
                      <a16:colId xmlns:a16="http://schemas.microsoft.com/office/drawing/2014/main" val="2408919243"/>
                    </a:ext>
                  </a:extLst>
                </a:gridCol>
                <a:gridCol w="1709531">
                  <a:extLst>
                    <a:ext uri="{9D8B030D-6E8A-4147-A177-3AD203B41FA5}">
                      <a16:colId xmlns:a16="http://schemas.microsoft.com/office/drawing/2014/main" val="3273236456"/>
                    </a:ext>
                  </a:extLst>
                </a:gridCol>
                <a:gridCol w="2627243">
                  <a:extLst>
                    <a:ext uri="{9D8B030D-6E8A-4147-A177-3AD203B41FA5}">
                      <a16:colId xmlns:a16="http://schemas.microsoft.com/office/drawing/2014/main" val="1551439874"/>
                    </a:ext>
                  </a:extLst>
                </a:gridCol>
              </a:tblGrid>
              <a:tr h="337014"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CHANGE LEADER :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tx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TANGGAL PELAKSANAAN COACHING :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475406"/>
                  </a:ext>
                </a:extLst>
              </a:tr>
              <a:tr h="412853"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CHANGE TARGET :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tx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[CLARIFY]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TOPIK COACHING :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5819454"/>
                  </a:ext>
                </a:extLst>
              </a:tr>
              <a:tr h="201806"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0141901"/>
                  </a:ext>
                </a:extLst>
              </a:tr>
              <a:tr h="1216080"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[LEARN]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PENGAMATAN COACH ATAS PERILAKU COACHEE SAAT INI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191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[LEARN]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DAMPAK PERILAKU COACHEE TERHADAP KINERJA TIM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SAAT INI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292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890082"/>
                  </a:ext>
                </a:extLst>
              </a:tr>
              <a:tr h="195671"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mpd="sng">
                      <a:noFill/>
                      <a:prstDash val="soli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mpd="sng">
                      <a:noFill/>
                      <a:prstDash val="soli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731120"/>
                  </a:ext>
                </a:extLst>
              </a:tr>
              <a:tr h="694903"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[COMMIT]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KOMITMEN AKSI 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191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[COMMIT]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TANGGAL DISKUSI TINDAK LANJUT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6301806"/>
                  </a:ext>
                </a:extLst>
              </a:tr>
            </a:tbl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CDAD116-9D6C-D43E-D816-E958CBF97B3A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</p:spPr>
        <p:txBody>
          <a:bodyPr/>
          <a:lstStyle/>
          <a:p>
            <a:pPr defTabSz="622158"/>
            <a:fld id="{00000000-1234-1234-1234-123412341234}" type="slidenum">
              <a:rPr lang="en-GB" sz="680" b="1">
                <a:solidFill>
                  <a:srgbClr val="26468E"/>
                </a:solidFill>
              </a:rPr>
              <a:pPr defTabSz="622158"/>
              <a:t>15</a:t>
            </a:fld>
            <a:endParaRPr lang="en-GB" sz="680" b="1" dirty="0">
              <a:solidFill>
                <a:srgbClr val="26468E"/>
              </a:solidFill>
            </a:endParaRPr>
          </a:p>
        </p:txBody>
      </p:sp>
      <p:sp>
        <p:nvSpPr>
          <p:cNvPr id="5" name="Google Shape;205;p8">
            <a:extLst>
              <a:ext uri="{FF2B5EF4-FFF2-40B4-BE49-F238E27FC236}">
                <a16:creationId xmlns:a16="http://schemas.microsoft.com/office/drawing/2014/main" id="{8C6EAFA3-BAEC-68EA-9CF8-AEE990D27400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2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Diskusi 1 on 1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E5CA093-4186-9B32-A679-E4D91FE4C0A7}"/>
              </a:ext>
            </a:extLst>
          </p:cNvPr>
          <p:cNvSpPr/>
          <p:nvPr/>
        </p:nvSpPr>
        <p:spPr>
          <a:xfrm>
            <a:off x="-121918" y="1003798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INDIVIDU</a:t>
            </a:r>
          </a:p>
        </p:txBody>
      </p:sp>
    </p:spTree>
    <p:extLst>
      <p:ext uri="{BB962C8B-B14F-4D97-AF65-F5344CB8AC3E}">
        <p14:creationId xmlns:p14="http://schemas.microsoft.com/office/powerpoint/2010/main" val="152649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CD7B4A66-611D-90A1-5FA2-6386705B6B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310AF2B0-A31F-9AB8-0B59-3CAC7CE171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AA693AEA-8E8E-EB4E-9AD6-8637744CF501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3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10C9DEA-5059-1185-1286-8E50C96760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6902757"/>
              </p:ext>
            </p:extLst>
          </p:nvPr>
        </p:nvGraphicFramePr>
        <p:xfrm>
          <a:off x="3600450" y="1125524"/>
          <a:ext cx="4887199" cy="3299460"/>
        </p:xfrm>
        <a:graphic>
          <a:graphicData uri="http://schemas.openxmlformats.org/drawingml/2006/table">
            <a:tbl>
              <a:tblPr firstRow="1" bandRow="1"/>
              <a:tblGrid>
                <a:gridCol w="4887199">
                  <a:extLst>
                    <a:ext uri="{9D8B030D-6E8A-4147-A177-3AD203B41FA5}">
                      <a16:colId xmlns:a16="http://schemas.microsoft.com/office/drawing/2014/main" val="2350897903"/>
                    </a:ext>
                  </a:extLst>
                </a:gridCol>
              </a:tblGrid>
              <a:tr h="398264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MINGGU 3</a:t>
                      </a:r>
                    </a:p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(27-31 Oktober 2025)</a:t>
                      </a:r>
                    </a:p>
                  </a:txBody>
                  <a:tcPr anchor="ctr">
                    <a:solidFill>
                      <a:srgbClr val="C2800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80305"/>
                  </a:ext>
                </a:extLst>
              </a:tr>
              <a:tr h="2781318">
                <a:tc>
                  <a:txBody>
                    <a:bodyPr/>
                    <a:lstStyle/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S DISCUSSION: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haring pa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en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PERCAYA. </a:t>
                      </a:r>
                      <a:r>
                        <a:rPr lang="en-US" sz="1000" b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laskan</a:t>
                      </a:r>
                      <a:r>
                        <a:rPr lang="en-US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maksud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 Ap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j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d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ey words dan do’s and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’t’s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u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ndu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laku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ap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aiman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terap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nteks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nit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j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s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10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nal dan external customers.</a:t>
                      </a:r>
                    </a:p>
                    <a:p>
                      <a:pPr marL="342900" marR="0" lvl="1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tu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(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Langkah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aktif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erap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”TERPERCAYA”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wab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ntang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kerja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di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jal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cap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il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Keywords mana yang pali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manfaa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?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ri list Anda,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lih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mbal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(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orang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ur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pali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dorong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er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gera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uj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ubah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bih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i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dwal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on 1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ny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ktik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kus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ubah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438490"/>
                  </a:ext>
                </a:extLst>
              </a:tr>
            </a:tbl>
          </a:graphicData>
        </a:graphic>
      </p:graphicFrame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0B117C51-5B18-4050-8035-61C2574C79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E98103-25A1-C40E-6BF9-64A14EED8CB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9541" t="-1064" r="27240" b="1064"/>
          <a:stretch>
            <a:fillRect/>
          </a:stretch>
        </p:blipFill>
        <p:spPr>
          <a:xfrm>
            <a:off x="713064" y="1169017"/>
            <a:ext cx="2149406" cy="3093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0228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E21EF729-58F1-13BF-7462-4431C98A98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5630C913-2F48-5C8B-FDE1-A2398E139D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939DA783-13A7-C488-1161-F9D1F1D80217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3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Values Discussion Nilai “TERPERCAYA” </a:t>
            </a:r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B883700C-5C2C-B3AD-3F45-13F411E956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0A7E17C-F501-FB19-173D-5BD73F6CBBCA}"/>
              </a:ext>
            </a:extLst>
          </p:cNvPr>
          <p:cNvSpPr/>
          <p:nvPr/>
        </p:nvSpPr>
        <p:spPr>
          <a:xfrm>
            <a:off x="-121918" y="1093249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GROUP</a:t>
            </a:r>
          </a:p>
        </p:txBody>
      </p:sp>
      <p:graphicFrame>
        <p:nvGraphicFramePr>
          <p:cNvPr id="3" name="Google Shape;1325;p43">
            <a:extLst>
              <a:ext uri="{FF2B5EF4-FFF2-40B4-BE49-F238E27FC236}">
                <a16:creationId xmlns:a16="http://schemas.microsoft.com/office/drawing/2014/main" id="{39B5438F-EEED-D576-7879-B53241FFD4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8182783"/>
              </p:ext>
            </p:extLst>
          </p:nvPr>
        </p:nvGraphicFramePr>
        <p:xfrm>
          <a:off x="3558209" y="1201918"/>
          <a:ext cx="5204791" cy="336156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680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244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911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Waktu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laksana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engap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values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ini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ting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endukung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erj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tim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erap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pada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onteks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internal customers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erap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pada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onteks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external customers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911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Respo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serta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20E31D8-D98B-860E-7DF2-8A9F1FD02A2E}"/>
              </a:ext>
            </a:extLst>
          </p:cNvPr>
          <p:cNvSpPr/>
          <p:nvPr/>
        </p:nvSpPr>
        <p:spPr>
          <a:xfrm>
            <a:off x="361075" y="1933511"/>
            <a:ext cx="2620663" cy="189837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 err="1">
                <a:latin typeface="Poppins" pitchFamily="2" charset="77"/>
                <a:cs typeface="Poppins" pitchFamily="2" charset="77"/>
              </a:rPr>
              <a:t>Dokumentasi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pelaksanaan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(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jika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ada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)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dapat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diletakkan</a:t>
            </a:r>
            <a:r>
              <a:rPr lang="en-US" sz="1100" i="1" dirty="0">
                <a:latin typeface="Poppins" pitchFamily="2" charset="77"/>
                <a:cs typeface="Poppins" pitchFamily="2" charset="77"/>
              </a:rPr>
              <a:t> di </a:t>
            </a:r>
            <a:r>
              <a:rPr lang="en-US" sz="1100" i="1" dirty="0" err="1">
                <a:latin typeface="Poppins" pitchFamily="2" charset="77"/>
                <a:cs typeface="Poppins" pitchFamily="2" charset="77"/>
              </a:rPr>
              <a:t>sini</a:t>
            </a:r>
            <a:endParaRPr lang="en-US" sz="1100" i="1" dirty="0"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881596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8F4D52B8-7197-5FE2-4FEB-9C29CEB277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9ED96306-C026-73E2-A3D6-417DA0508E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88524FB9-6536-34D0-FF00-BF5D8D4F6673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3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Penerap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 Pribadi Nilai “TERPERCAYA”</a:t>
            </a:r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B0AC9C36-27F4-4E80-44DE-72C84BFD69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ECA1586-2C53-BE23-ABE7-0055C4690CE2}"/>
              </a:ext>
            </a:extLst>
          </p:cNvPr>
          <p:cNvSpPr/>
          <p:nvPr/>
        </p:nvSpPr>
        <p:spPr>
          <a:xfrm>
            <a:off x="-121918" y="1093249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INDIVIDU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7A95E38-5710-BEF6-658B-ABD177FBE0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2490620"/>
              </p:ext>
            </p:extLst>
          </p:nvPr>
        </p:nvGraphicFramePr>
        <p:xfrm>
          <a:off x="582437" y="1645130"/>
          <a:ext cx="7975154" cy="1923016"/>
        </p:xfrm>
        <a:graphic>
          <a:graphicData uri="http://schemas.openxmlformats.org/drawingml/2006/table">
            <a:tbl>
              <a:tblPr firstRow="1" bandRow="1">
                <a:tableStyleId>{B788A828-7A5F-42DE-AED1-21EF66E0FF09}</a:tableStyleId>
              </a:tblPr>
              <a:tblGrid>
                <a:gridCol w="2717873">
                  <a:extLst>
                    <a:ext uri="{9D8B030D-6E8A-4147-A177-3AD203B41FA5}">
                      <a16:colId xmlns:a16="http://schemas.microsoft.com/office/drawing/2014/main" val="1547421935"/>
                    </a:ext>
                  </a:extLst>
                </a:gridCol>
                <a:gridCol w="1612487">
                  <a:extLst>
                    <a:ext uri="{9D8B030D-6E8A-4147-A177-3AD203B41FA5}">
                      <a16:colId xmlns:a16="http://schemas.microsoft.com/office/drawing/2014/main" val="3158826452"/>
                    </a:ext>
                  </a:extLst>
                </a:gridCol>
                <a:gridCol w="3644794">
                  <a:extLst>
                    <a:ext uri="{9D8B030D-6E8A-4147-A177-3AD203B41FA5}">
                      <a16:colId xmlns:a16="http://schemas.microsoft.com/office/drawing/2014/main" val="1311639766"/>
                    </a:ext>
                  </a:extLst>
                </a:gridCol>
              </a:tblGrid>
              <a:tr h="501858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TANTANGAN YANG DITEMUI </a:t>
                      </a:r>
                    </a:p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DALAM MINGGU IN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KEYWOR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AKSI PROAKTIF DALAM LINGKARAN PENGARUH YANG SAYA LAKUKA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7692830"/>
                  </a:ext>
                </a:extLst>
              </a:tr>
              <a:tr h="710579">
                <a:tc rowSpan="2">
                  <a:txBody>
                    <a:bodyPr/>
                    <a:lstStyle/>
                    <a:p>
                      <a:pPr algn="l" rtl="0" fontAlgn="ctr"/>
                      <a:endParaRPr lang="en-ID" sz="700" b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i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281230"/>
                  </a:ext>
                </a:extLst>
              </a:tr>
              <a:tr h="710579">
                <a:tc vMerge="1">
                  <a:txBody>
                    <a:bodyPr/>
                    <a:lstStyle/>
                    <a:p>
                      <a:pPr algn="l" rtl="0" fontAlgn="ctr"/>
                      <a:endParaRPr lang="en-ID" sz="800" b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i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03681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4361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AD91F9-5F58-D0BA-C99B-4854A04A0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E6D5403-A45F-0B15-EE8B-3E2D0D9DCC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4517932"/>
              </p:ext>
            </p:extLst>
          </p:nvPr>
        </p:nvGraphicFramePr>
        <p:xfrm>
          <a:off x="361076" y="1505151"/>
          <a:ext cx="8454888" cy="3058327"/>
        </p:xfrm>
        <a:graphic>
          <a:graphicData uri="http://schemas.openxmlformats.org/drawingml/2006/table">
            <a:tbl>
              <a:tblPr firstRow="1" bandRow="1"/>
              <a:tblGrid>
                <a:gridCol w="1370275">
                  <a:extLst>
                    <a:ext uri="{9D8B030D-6E8A-4147-A177-3AD203B41FA5}">
                      <a16:colId xmlns:a16="http://schemas.microsoft.com/office/drawing/2014/main" val="1785225616"/>
                    </a:ext>
                  </a:extLst>
                </a:gridCol>
                <a:gridCol w="2529178">
                  <a:extLst>
                    <a:ext uri="{9D8B030D-6E8A-4147-A177-3AD203B41FA5}">
                      <a16:colId xmlns:a16="http://schemas.microsoft.com/office/drawing/2014/main" val="2628437964"/>
                    </a:ext>
                  </a:extLst>
                </a:gridCol>
                <a:gridCol w="218661">
                  <a:extLst>
                    <a:ext uri="{9D8B030D-6E8A-4147-A177-3AD203B41FA5}">
                      <a16:colId xmlns:a16="http://schemas.microsoft.com/office/drawing/2014/main" val="2408919243"/>
                    </a:ext>
                  </a:extLst>
                </a:gridCol>
                <a:gridCol w="1709531">
                  <a:extLst>
                    <a:ext uri="{9D8B030D-6E8A-4147-A177-3AD203B41FA5}">
                      <a16:colId xmlns:a16="http://schemas.microsoft.com/office/drawing/2014/main" val="3273236456"/>
                    </a:ext>
                  </a:extLst>
                </a:gridCol>
                <a:gridCol w="2627243">
                  <a:extLst>
                    <a:ext uri="{9D8B030D-6E8A-4147-A177-3AD203B41FA5}">
                      <a16:colId xmlns:a16="http://schemas.microsoft.com/office/drawing/2014/main" val="1551439874"/>
                    </a:ext>
                  </a:extLst>
                </a:gridCol>
              </a:tblGrid>
              <a:tr h="337014"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CHANGE LEADER :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tx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TANGGAL PELAKSANAAN COACHING :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475406"/>
                  </a:ext>
                </a:extLst>
              </a:tr>
              <a:tr h="412853"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CHANGE TARGET :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tx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[CLARIFY]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TOPIK COACHING :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5819454"/>
                  </a:ext>
                </a:extLst>
              </a:tr>
              <a:tr h="201806"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0141901"/>
                  </a:ext>
                </a:extLst>
              </a:tr>
              <a:tr h="1216080"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[LEARN]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PENGAMATAN COACH ATAS PERILAKU COACHEE SAAT INI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000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191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[LEARN]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DAMPAK PERILAKU COACHEE TERHADAP KINERJA TIM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SAAT INI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292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890082"/>
                  </a:ext>
                </a:extLst>
              </a:tr>
              <a:tr h="195671"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mpd="sng">
                      <a:noFill/>
                      <a:prstDash val="soli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mpd="sng">
                      <a:noFill/>
                      <a:prstDash val="soli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731120"/>
                  </a:ext>
                </a:extLst>
              </a:tr>
              <a:tr h="694903">
                <a:tc>
                  <a:txBody>
                    <a:bodyPr/>
                    <a:lstStyle/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[COMMIT]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KOMITMEN AKSI 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191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[COMMIT]</a:t>
                      </a:r>
                    </a:p>
                    <a:p>
                      <a:pPr algn="l"/>
                      <a:r>
                        <a:rPr lang="en-US" sz="600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TANGGAL DISKUSI TINDAK LANJUT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6301806"/>
                  </a:ext>
                </a:extLst>
              </a:tr>
            </a:tbl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A604CB2-824B-9B62-E488-0A26B1AD3C5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622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GB" sz="680" b="1" i="0" u="none" strike="noStrike" kern="0" cap="none" spc="0" normalizeH="0" baseline="0" noProof="0">
                <a:ln>
                  <a:noFill/>
                </a:ln>
                <a:solidFill>
                  <a:srgbClr val="26468E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622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9</a:t>
            </a:fld>
            <a:endParaRPr kumimoji="0" lang="en-GB" sz="680" b="1" i="0" u="none" strike="noStrike" kern="0" cap="none" spc="0" normalizeH="0" baseline="0" noProof="0" dirty="0">
              <a:ln>
                <a:noFill/>
              </a:ln>
              <a:solidFill>
                <a:srgbClr val="26468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Google Shape;205;p8">
            <a:extLst>
              <a:ext uri="{FF2B5EF4-FFF2-40B4-BE49-F238E27FC236}">
                <a16:creationId xmlns:a16="http://schemas.microsoft.com/office/drawing/2014/main" id="{019DB9A9-30CF-B03D-BDDD-BE0BC127C573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3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Diskusi 1 on 1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A199BAC-5C40-2773-A732-DC92F3D4C529}"/>
              </a:ext>
            </a:extLst>
          </p:cNvPr>
          <p:cNvSpPr/>
          <p:nvPr/>
        </p:nvSpPr>
        <p:spPr>
          <a:xfrm>
            <a:off x="-121918" y="1003798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INDIVIDU</a:t>
            </a:r>
          </a:p>
        </p:txBody>
      </p:sp>
    </p:spTree>
    <p:extLst>
      <p:ext uri="{BB962C8B-B14F-4D97-AF65-F5344CB8AC3E}">
        <p14:creationId xmlns:p14="http://schemas.microsoft.com/office/powerpoint/2010/main" val="3082156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2AB079A8-350F-26D5-8C5B-02F2719DC23B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472458" y="4663217"/>
            <a:ext cx="548700" cy="308833"/>
          </a:xfrm>
        </p:spPr>
        <p:txBody>
          <a:bodyPr/>
          <a:lstStyle/>
          <a:p>
            <a:pPr defTabSz="622158"/>
            <a:fld id="{00000000-1234-1234-1234-123412341234}" type="slidenum">
              <a:rPr lang="en-GB" sz="680" b="1">
                <a:solidFill>
                  <a:srgbClr val="26468E"/>
                </a:solidFill>
              </a:rPr>
              <a:pPr defTabSz="622158"/>
              <a:t>2</a:t>
            </a:fld>
            <a:endParaRPr lang="en-GB" sz="680" b="1" dirty="0">
              <a:solidFill>
                <a:srgbClr val="2646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697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7741A25F-FC08-ED8A-A820-86617452C4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F18094C3-8567-59CA-2D14-BA1DC8A77B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89C3F96B-86D1-D654-4E06-83B924C1AA6C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4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9DC4A2A-B6AE-8B10-2D43-4DA4430BE6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5868147"/>
              </p:ext>
            </p:extLst>
          </p:nvPr>
        </p:nvGraphicFramePr>
        <p:xfrm>
          <a:off x="3600450" y="918312"/>
          <a:ext cx="5244972" cy="3482340"/>
        </p:xfrm>
        <a:graphic>
          <a:graphicData uri="http://schemas.openxmlformats.org/drawingml/2006/table">
            <a:tbl>
              <a:tblPr firstRow="1" bandRow="1"/>
              <a:tblGrid>
                <a:gridCol w="5244972">
                  <a:extLst>
                    <a:ext uri="{9D8B030D-6E8A-4147-A177-3AD203B41FA5}">
                      <a16:colId xmlns:a16="http://schemas.microsoft.com/office/drawing/2014/main" val="2350897903"/>
                    </a:ext>
                  </a:extLst>
                </a:gridCol>
              </a:tblGrid>
              <a:tr h="392911"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MINGGU 4</a:t>
                      </a:r>
                    </a:p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(3-7 November 2025)</a:t>
                      </a:r>
                      <a:endParaRPr lang="en-US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rgbClr val="A26B0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80305"/>
                  </a:ext>
                </a:extLst>
              </a:tr>
              <a:tr h="2743933">
                <a:tc>
                  <a:txBody>
                    <a:bodyPr/>
                    <a:lstStyle/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S DISCUSSION: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haring pa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en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JUR. </a:t>
                      </a:r>
                      <a:r>
                        <a:rPr lang="en-US" sz="800" b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laskan</a:t>
                      </a:r>
                      <a:r>
                        <a:rPr lang="en-US" sz="8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534988" marR="0" lvl="1" indent="-17780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maksud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 Ap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d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ey words dan do’s and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’t’s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u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ndu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laku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534988" marR="0" lvl="1" indent="-17780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ap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  <a:p>
                      <a:pPr marL="534988" marR="0" lvl="1" indent="-17780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aiman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t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nteks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nit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nal dan external customers.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elah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pelajari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seluruhan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jutkan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i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haring </a:t>
                      </a:r>
                      <a:r>
                        <a:rPr lang="en-US" sz="8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diskusikan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berapa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in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8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ikut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li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eri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mp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li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kai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erap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-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RTJ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lam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ar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vid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n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.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at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pat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r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ggot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 Anda.</a:t>
                      </a: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a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mitme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sam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t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sam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bag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angkah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bai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sam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hususny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utup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ses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25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bih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i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ika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ap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lang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dapat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faa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internal/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ksternal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erap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lak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r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aiman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l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pa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ant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rek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t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(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Langkah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aktif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”JUJUR”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wab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nta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kerja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jal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cap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il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Keywords mana yang pali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manfaa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?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 yang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lajar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ay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438490"/>
                  </a:ext>
                </a:extLst>
              </a:tr>
            </a:tbl>
          </a:graphicData>
        </a:graphic>
      </p:graphicFrame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F1D09D7-BDBF-28AA-A237-FE0F296629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259D887-7D83-90D7-70ED-C2DC6FBA9B3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75094" t="-3533" r="1687" b="3533"/>
          <a:stretch>
            <a:fillRect/>
          </a:stretch>
        </p:blipFill>
        <p:spPr>
          <a:xfrm>
            <a:off x="713064" y="1169017"/>
            <a:ext cx="2149406" cy="3093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8272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A8DA5CFF-A5C3-B090-337F-2A2A9AFF2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CE6262ED-D131-31EE-475D-2B1DF67BEA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CB21F8D2-9586-D064-A9ED-2478BCA1F6A1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4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Values Discussion Nilai “JUJUR” </a:t>
            </a:r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73E0D451-A707-A194-9BC1-A2F2B32C89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3CAEEB8-1E47-90B3-3ED6-7196420A58FD}"/>
              </a:ext>
            </a:extLst>
          </p:cNvPr>
          <p:cNvSpPr/>
          <p:nvPr/>
        </p:nvSpPr>
        <p:spPr>
          <a:xfrm>
            <a:off x="-121918" y="1093249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GROUP</a:t>
            </a:r>
          </a:p>
        </p:txBody>
      </p:sp>
      <p:graphicFrame>
        <p:nvGraphicFramePr>
          <p:cNvPr id="3" name="Google Shape;1325;p43">
            <a:extLst>
              <a:ext uri="{FF2B5EF4-FFF2-40B4-BE49-F238E27FC236}">
                <a16:creationId xmlns:a16="http://schemas.microsoft.com/office/drawing/2014/main" id="{BBEF3D36-6101-6EB2-4205-E9009E15DF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1736391"/>
              </p:ext>
            </p:extLst>
          </p:nvPr>
        </p:nvGraphicFramePr>
        <p:xfrm>
          <a:off x="3558209" y="1201918"/>
          <a:ext cx="5204791" cy="336156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680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244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911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Waktu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laksana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engap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values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ini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ting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endukung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erj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tim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erap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pada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onteks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internal customers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444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nerap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pada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onteks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external customers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911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Respo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serta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CE7F3A0-8829-D300-2BFA-43833716FE22}"/>
              </a:ext>
            </a:extLst>
          </p:cNvPr>
          <p:cNvSpPr/>
          <p:nvPr/>
        </p:nvSpPr>
        <p:spPr>
          <a:xfrm>
            <a:off x="361075" y="1933511"/>
            <a:ext cx="2620663" cy="189837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Dokumentasi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 </a:t>
            </a: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pelaksanaan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 (</a:t>
            </a: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jika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 </a:t>
            </a: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ada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) </a:t>
            </a: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dapat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 </a:t>
            </a: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diletakkan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 di </a:t>
            </a: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sini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42564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4BC4248A-48DE-0A0D-149A-DD58EBF326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4CB92930-6318-8FE0-2D8C-923C7F3675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315666CE-10B4-C0A3-E964-C883D4E77FC3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4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Team Commitment</a:t>
            </a:r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FE73DAE2-CC7B-DE82-915B-8F8B33ADE6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graphicFrame>
        <p:nvGraphicFramePr>
          <p:cNvPr id="6" name="Google Shape;1325;p43">
            <a:extLst>
              <a:ext uri="{FF2B5EF4-FFF2-40B4-BE49-F238E27FC236}">
                <a16:creationId xmlns:a16="http://schemas.microsoft.com/office/drawing/2014/main" id="{A59CFF52-BBC1-44B9-51B5-3B13D3714F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6260414"/>
              </p:ext>
            </p:extLst>
          </p:nvPr>
        </p:nvGraphicFramePr>
        <p:xfrm>
          <a:off x="913580" y="1648690"/>
          <a:ext cx="7849419" cy="2407811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5340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153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9994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Nilai yang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rlu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ditingkatk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bersam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dalam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satu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tim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5939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omitme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Aksi Bersama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terkait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nilai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tersebut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untuk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enutup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erj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2025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deng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lebih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baik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5939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Pelangg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yang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ak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endapatk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anfaat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dari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komitme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bersam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ini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5939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Aksi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ini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ak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membantunya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dengan</a:t>
                      </a:r>
                      <a:r>
                        <a:rPr lang="en-US" sz="1050" b="1" u="none" strike="noStrike" cap="none" dirty="0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 </a:t>
                      </a:r>
                      <a:r>
                        <a:rPr lang="en-US" sz="1050" b="1" u="none" strike="noStrike" cap="none" dirty="0" err="1">
                          <a:solidFill>
                            <a:schemeClr val="bg1"/>
                          </a:solidFill>
                          <a:latin typeface="Poppins" pitchFamily="2" charset="77"/>
                          <a:ea typeface="Helvetica Neue Light"/>
                          <a:cs typeface="Poppins" pitchFamily="2" charset="77"/>
                          <a:sym typeface="Helvetica Neue Light"/>
                        </a:rPr>
                        <a:t>cara</a:t>
                      </a:r>
                      <a:endParaRPr sz="1050" b="1" u="none" strike="noStrike" cap="none" dirty="0">
                        <a:solidFill>
                          <a:schemeClr val="bg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200"/>
                        <a:buFont typeface="Calibri"/>
                        <a:buNone/>
                      </a:pPr>
                      <a:endParaRPr sz="1100" u="none" strike="noStrike" cap="none" dirty="0">
                        <a:solidFill>
                          <a:schemeClr val="dk1"/>
                        </a:solidFill>
                        <a:latin typeface="Poppins" pitchFamily="2" charset="77"/>
                        <a:ea typeface="Helvetica Neue Light"/>
                        <a:cs typeface="Poppins" pitchFamily="2" charset="77"/>
                        <a:sym typeface="Helvetica Neue Light"/>
                      </a:endParaRPr>
                    </a:p>
                  </a:txBody>
                  <a:tcPr marL="34294" marR="34294" marT="17156" marB="1715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393F9759-E9B6-2052-9879-7D7CA9016029}"/>
              </a:ext>
            </a:extLst>
          </p:cNvPr>
          <p:cNvSpPr/>
          <p:nvPr/>
        </p:nvSpPr>
        <p:spPr>
          <a:xfrm>
            <a:off x="-121918" y="1093249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GROUP</a:t>
            </a:r>
          </a:p>
        </p:txBody>
      </p:sp>
    </p:spTree>
    <p:extLst>
      <p:ext uri="{BB962C8B-B14F-4D97-AF65-F5344CB8AC3E}">
        <p14:creationId xmlns:p14="http://schemas.microsoft.com/office/powerpoint/2010/main" val="27762220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A8211575-8111-089C-A92D-6099B7984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48E6C1D0-966C-6FBA-2ECB-8FE49A5650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F97881C5-565C-D0A2-590E-A0CA64FB4A50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4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Penerap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 Pribadi Nilai “JUJUR”</a:t>
            </a:r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3389AC90-2A16-00C1-C484-D05065395F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AF786CE-C8BF-B8C8-6616-ABB1BD29205E}"/>
              </a:ext>
            </a:extLst>
          </p:cNvPr>
          <p:cNvSpPr/>
          <p:nvPr/>
        </p:nvSpPr>
        <p:spPr>
          <a:xfrm>
            <a:off x="-121918" y="1093249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INDIVIDU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EE9392E-9DF3-BEBA-0F18-F856EDE829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0312295"/>
              </p:ext>
            </p:extLst>
          </p:nvPr>
        </p:nvGraphicFramePr>
        <p:xfrm>
          <a:off x="582437" y="1645130"/>
          <a:ext cx="7975154" cy="1923016"/>
        </p:xfrm>
        <a:graphic>
          <a:graphicData uri="http://schemas.openxmlformats.org/drawingml/2006/table">
            <a:tbl>
              <a:tblPr firstRow="1" bandRow="1">
                <a:tableStyleId>{B788A828-7A5F-42DE-AED1-21EF66E0FF09}</a:tableStyleId>
              </a:tblPr>
              <a:tblGrid>
                <a:gridCol w="2717873">
                  <a:extLst>
                    <a:ext uri="{9D8B030D-6E8A-4147-A177-3AD203B41FA5}">
                      <a16:colId xmlns:a16="http://schemas.microsoft.com/office/drawing/2014/main" val="1547421935"/>
                    </a:ext>
                  </a:extLst>
                </a:gridCol>
                <a:gridCol w="1612487">
                  <a:extLst>
                    <a:ext uri="{9D8B030D-6E8A-4147-A177-3AD203B41FA5}">
                      <a16:colId xmlns:a16="http://schemas.microsoft.com/office/drawing/2014/main" val="3158826452"/>
                    </a:ext>
                  </a:extLst>
                </a:gridCol>
                <a:gridCol w="3644794">
                  <a:extLst>
                    <a:ext uri="{9D8B030D-6E8A-4147-A177-3AD203B41FA5}">
                      <a16:colId xmlns:a16="http://schemas.microsoft.com/office/drawing/2014/main" val="1311639766"/>
                    </a:ext>
                  </a:extLst>
                </a:gridCol>
              </a:tblGrid>
              <a:tr h="501858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TANTANGAN YANG DITEMUI </a:t>
                      </a:r>
                    </a:p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DALAM MINGGU IN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KEYWOR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AKSI PROAKTIF DALAM LINGKARAN PENGARUH YANG SAYA LAKUKA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6B0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7692830"/>
                  </a:ext>
                </a:extLst>
              </a:tr>
              <a:tr h="710579">
                <a:tc rowSpan="2">
                  <a:txBody>
                    <a:bodyPr/>
                    <a:lstStyle/>
                    <a:p>
                      <a:pPr algn="l" rtl="0" fontAlgn="ctr"/>
                      <a:endParaRPr lang="en-ID" sz="700" b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i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281230"/>
                  </a:ext>
                </a:extLst>
              </a:tr>
              <a:tr h="710579">
                <a:tc vMerge="1">
                  <a:txBody>
                    <a:bodyPr/>
                    <a:lstStyle/>
                    <a:p>
                      <a:pPr algn="l" rtl="0" fontAlgn="ctr"/>
                      <a:endParaRPr lang="en-ID" sz="800" b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i="1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ID" sz="700" b="0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11653" marR="116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03681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73072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7461C55E-4C27-1753-2C1D-FFFACA8A02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F1E197C-7E0F-1C58-71FB-60267EA517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9D9D278E-E384-615D-135E-36CF9015B53B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4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–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Pembelajar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 Hasil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Implementasi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Bebas Neue"/>
              <a:cs typeface="Gotham Black" pitchFamily="50" charset="0"/>
              <a:sym typeface="Bebas Neue"/>
            </a:endParaRPr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E6BB667F-2DE9-31C4-913A-7F7EF7D3C0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7FBB4B4-F736-C3E5-6F8A-5446EB9A0F50}"/>
              </a:ext>
            </a:extLst>
          </p:cNvPr>
          <p:cNvSpPr/>
          <p:nvPr/>
        </p:nvSpPr>
        <p:spPr>
          <a:xfrm>
            <a:off x="-121918" y="1093249"/>
            <a:ext cx="1426843" cy="307322"/>
          </a:xfrm>
          <a:prstGeom prst="roundRect">
            <a:avLst/>
          </a:prstGeom>
          <a:solidFill>
            <a:srgbClr val="2646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Arial"/>
              </a:rPr>
              <a:t>INDIVIDU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B149A7-F005-4F05-E212-1DD07970C23B}"/>
              </a:ext>
            </a:extLst>
          </p:cNvPr>
          <p:cNvSpPr/>
          <p:nvPr/>
        </p:nvSpPr>
        <p:spPr>
          <a:xfrm>
            <a:off x="591503" y="1564811"/>
            <a:ext cx="8253919" cy="299866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b="1" i="1" dirty="0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Hal yang </a:t>
            </a:r>
            <a:r>
              <a:rPr lang="en-US" sz="1200" b="1" i="1" dirty="0" err="1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Dirasakan</a:t>
            </a:r>
            <a:r>
              <a:rPr lang="en-US" sz="1200" b="1" i="1" dirty="0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 dan </a:t>
            </a:r>
            <a:r>
              <a:rPr lang="en-US" sz="1200" b="1" i="1" dirty="0" err="1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Dipelajari</a:t>
            </a:r>
            <a:r>
              <a:rPr lang="en-US" sz="1200" b="1" i="1" dirty="0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US" sz="1200" b="1" i="1" dirty="0" err="1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selama</a:t>
            </a:r>
            <a:r>
              <a:rPr lang="en-US" sz="1200" b="1" i="1" dirty="0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US" sz="1200" b="1" i="1" dirty="0" err="1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Implementasi</a:t>
            </a:r>
            <a:r>
              <a:rPr lang="en-US" sz="1200" b="1" i="1" dirty="0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US" sz="1200" b="1" i="1" dirty="0" err="1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selama</a:t>
            </a:r>
            <a:r>
              <a:rPr lang="en-US" sz="1200" b="1" i="1" dirty="0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 4 </a:t>
            </a:r>
            <a:r>
              <a:rPr lang="en-US" sz="1200" b="1" i="1" dirty="0" err="1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minggu</a:t>
            </a:r>
            <a:r>
              <a:rPr lang="en-US" sz="1200" b="1" i="1" dirty="0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US" sz="1200" b="1" dirty="0">
                <a:solidFill>
                  <a:srgbClr val="FFFFFF"/>
                </a:solidFill>
                <a:latin typeface="Poppins" pitchFamily="2" charset="77"/>
                <a:cs typeface="Poppins" pitchFamily="2" charset="77"/>
              </a:rPr>
              <a:t> 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2922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F16358-E6BC-D33D-64B7-B969929DB2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C46A3D53-ECBF-FC39-5965-0F618525B47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defTabSz="622158"/>
            <a:fld id="{00000000-1234-1234-1234-123412341234}" type="slidenum">
              <a:rPr lang="en-GB" sz="680" b="1">
                <a:solidFill>
                  <a:srgbClr val="26468E"/>
                </a:solidFill>
              </a:rPr>
              <a:pPr defTabSz="622158"/>
              <a:t>3</a:t>
            </a:fld>
            <a:endParaRPr lang="en-GB" sz="680" b="1" dirty="0">
              <a:solidFill>
                <a:srgbClr val="2646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23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DE5AFE-0E87-7225-CF3D-B4D9A5EB4C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1D9772B4-8785-A8FB-AA76-D1C65E587278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472458" y="4786197"/>
            <a:ext cx="548700" cy="308833"/>
          </a:xfrm>
        </p:spPr>
        <p:txBody>
          <a:bodyPr/>
          <a:lstStyle/>
          <a:p>
            <a:pPr defTabSz="622158"/>
            <a:fld id="{00000000-1234-1234-1234-123412341234}" type="slidenum">
              <a:rPr lang="en-GB" sz="680" b="1">
                <a:solidFill>
                  <a:srgbClr val="26468E"/>
                </a:solidFill>
              </a:rPr>
              <a:pPr defTabSz="622158"/>
              <a:t>4</a:t>
            </a:fld>
            <a:endParaRPr lang="en-GB" sz="680" b="1" dirty="0">
              <a:solidFill>
                <a:srgbClr val="2646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36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643AF6-8F50-6425-840F-A7CD7B1644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B22EBF54-1640-F329-B2AC-386A064F6128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618762" y="4663217"/>
            <a:ext cx="548700" cy="308833"/>
          </a:xfrm>
        </p:spPr>
        <p:txBody>
          <a:bodyPr/>
          <a:lstStyle/>
          <a:p>
            <a:fld id="{00000000-1234-1234-1234-123412341234}" type="slidenum">
              <a:rPr lang="en-GB"/>
              <a:pPr/>
              <a:t>5</a:t>
            </a:fld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20D167A-D818-9D6C-375F-6BC761C97367}"/>
              </a:ext>
            </a:extLst>
          </p:cNvPr>
          <p:cNvSpPr/>
          <p:nvPr/>
        </p:nvSpPr>
        <p:spPr>
          <a:xfrm>
            <a:off x="3030273" y="3271748"/>
            <a:ext cx="893135" cy="2232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EA30F9-2D6D-524B-E17A-F82571DE0B7B}"/>
              </a:ext>
            </a:extLst>
          </p:cNvPr>
          <p:cNvSpPr txBox="1"/>
          <p:nvPr/>
        </p:nvSpPr>
        <p:spPr>
          <a:xfrm>
            <a:off x="2955852" y="3232306"/>
            <a:ext cx="12971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MPLIANCE</a:t>
            </a:r>
          </a:p>
        </p:txBody>
      </p:sp>
    </p:spTree>
    <p:extLst>
      <p:ext uri="{BB962C8B-B14F-4D97-AF65-F5344CB8AC3E}">
        <p14:creationId xmlns:p14="http://schemas.microsoft.com/office/powerpoint/2010/main" val="226933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709D9742-00B6-B590-0944-416D5E5CD8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DB87F58-07DB-E0AA-19ED-5A2E9C8F79DF}"/>
              </a:ext>
            </a:extLst>
          </p:cNvPr>
          <p:cNvCxnSpPr>
            <a:cxnSpLocks/>
          </p:cNvCxnSpPr>
          <p:nvPr/>
        </p:nvCxnSpPr>
        <p:spPr>
          <a:xfrm>
            <a:off x="7033348" y="2364809"/>
            <a:ext cx="0" cy="2920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Google Shape;816;p23">
            <a:extLst>
              <a:ext uri="{FF2B5EF4-FFF2-40B4-BE49-F238E27FC236}">
                <a16:creationId xmlns:a16="http://schemas.microsoft.com/office/drawing/2014/main" id="{BC1FFDE0-D445-8C75-973D-19DC1B12E1EA}"/>
              </a:ext>
            </a:extLst>
          </p:cNvPr>
          <p:cNvSpPr/>
          <p:nvPr/>
        </p:nvSpPr>
        <p:spPr>
          <a:xfrm>
            <a:off x="8593623" y="2108514"/>
            <a:ext cx="113836" cy="11383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685818">
              <a:buClrTx/>
              <a:defRPr/>
            </a:pPr>
            <a:endParaRPr sz="1512" kern="1200">
              <a:solidFill>
                <a:srgbClr val="FFFFFF"/>
              </a:solidFill>
              <a:latin typeface="Gotham-MediumItalic" pitchFamily="2" charset="0"/>
              <a:ea typeface="Calibri"/>
              <a:cs typeface="Gotham-MediumItalic" pitchFamily="2" charset="0"/>
              <a:sym typeface="Calibri"/>
            </a:endParaRPr>
          </a:p>
        </p:txBody>
      </p:sp>
      <p:cxnSp>
        <p:nvCxnSpPr>
          <p:cNvPr id="35" name="Google Shape;815;p23">
            <a:extLst>
              <a:ext uri="{FF2B5EF4-FFF2-40B4-BE49-F238E27FC236}">
                <a16:creationId xmlns:a16="http://schemas.microsoft.com/office/drawing/2014/main" id="{1F541509-F6FB-7EB6-F6E4-34ADE0F56CB5}"/>
              </a:ext>
            </a:extLst>
          </p:cNvPr>
          <p:cNvCxnSpPr>
            <a:cxnSpLocks/>
          </p:cNvCxnSpPr>
          <p:nvPr/>
        </p:nvCxnSpPr>
        <p:spPr>
          <a:xfrm flipV="1">
            <a:off x="1121554" y="2222351"/>
            <a:ext cx="7723868" cy="7264"/>
          </a:xfrm>
          <a:prstGeom prst="straightConnector1">
            <a:avLst/>
          </a:prstGeom>
          <a:noFill/>
          <a:ln w="57150" cap="flat" cmpd="sng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36" name="Google Shape;863;p23">
            <a:extLst>
              <a:ext uri="{FF2B5EF4-FFF2-40B4-BE49-F238E27FC236}">
                <a16:creationId xmlns:a16="http://schemas.microsoft.com/office/drawing/2014/main" id="{AEA231DF-2447-4823-576A-F82E9E63986A}"/>
              </a:ext>
            </a:extLst>
          </p:cNvPr>
          <p:cNvSpPr/>
          <p:nvPr/>
        </p:nvSpPr>
        <p:spPr>
          <a:xfrm>
            <a:off x="1674099" y="1866586"/>
            <a:ext cx="1753229" cy="711528"/>
          </a:xfrm>
          <a:prstGeom prst="roundRect">
            <a:avLst>
              <a:gd name="adj" fmla="val 7428"/>
            </a:avLst>
          </a:prstGeom>
          <a:solidFill>
            <a:srgbClr val="C00000"/>
          </a:solidFill>
          <a:ln w="1905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algn="ctr" defTabSz="685818">
              <a:buClrTx/>
              <a:defRPr/>
            </a:pPr>
            <a:r>
              <a:rPr lang="en-ID" sz="675" b="1" kern="1200" dirty="0">
                <a:solidFill>
                  <a:srgbClr val="FFFFFF"/>
                </a:solidFill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CO-MISSIONING PROGRAM</a:t>
            </a:r>
          </a:p>
        </p:txBody>
      </p:sp>
      <p:sp>
        <p:nvSpPr>
          <p:cNvPr id="58" name="Google Shape;863;p23">
            <a:extLst>
              <a:ext uri="{FF2B5EF4-FFF2-40B4-BE49-F238E27FC236}">
                <a16:creationId xmlns:a16="http://schemas.microsoft.com/office/drawing/2014/main" id="{5FE5CF7E-88B6-D751-6184-0895BAD8AC5B}"/>
              </a:ext>
            </a:extLst>
          </p:cNvPr>
          <p:cNvSpPr/>
          <p:nvPr/>
        </p:nvSpPr>
        <p:spPr>
          <a:xfrm>
            <a:off x="3909119" y="2051732"/>
            <a:ext cx="553379" cy="355764"/>
          </a:xfrm>
          <a:prstGeom prst="octagon">
            <a:avLst/>
          </a:prstGeom>
          <a:solidFill>
            <a:srgbClr val="C69D39"/>
          </a:solidFill>
          <a:ln w="12700" cap="flat" cmpd="sng">
            <a:solidFill>
              <a:srgbClr val="2135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algn="ctr" defTabSz="685818">
              <a:buClrTx/>
              <a:defRPr/>
            </a:pPr>
            <a:r>
              <a:rPr lang="en-ID" sz="500" b="1" kern="1200" dirty="0">
                <a:solidFill>
                  <a:srgbClr val="FFFFFF"/>
                </a:solidFill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IMPLEMENTASI W1</a:t>
            </a:r>
          </a:p>
        </p:txBody>
      </p:sp>
      <p:sp>
        <p:nvSpPr>
          <p:cNvPr id="76" name="Google Shape;863;p23">
            <a:extLst>
              <a:ext uri="{FF2B5EF4-FFF2-40B4-BE49-F238E27FC236}">
                <a16:creationId xmlns:a16="http://schemas.microsoft.com/office/drawing/2014/main" id="{76276DA0-CB05-2C8D-5D13-28FB66E94270}"/>
              </a:ext>
            </a:extLst>
          </p:cNvPr>
          <p:cNvSpPr/>
          <p:nvPr/>
        </p:nvSpPr>
        <p:spPr>
          <a:xfrm>
            <a:off x="5237161" y="1860222"/>
            <a:ext cx="802844" cy="711528"/>
          </a:xfrm>
          <a:prstGeom prst="roundRect">
            <a:avLst>
              <a:gd name="adj" fmla="val 7428"/>
            </a:avLst>
          </a:prstGeom>
          <a:solidFill>
            <a:srgbClr val="C00000"/>
          </a:solidFill>
          <a:ln w="1905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algn="ctr" defTabSz="685818">
              <a:buClrTx/>
              <a:defRPr/>
            </a:pPr>
            <a:r>
              <a:rPr lang="en-ID" sz="680" b="1" kern="1200" dirty="0">
                <a:solidFill>
                  <a:srgbClr val="FFFFFF"/>
                </a:solidFill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RECONNECT SESSION</a:t>
            </a:r>
          </a:p>
        </p:txBody>
      </p:sp>
      <p:sp>
        <p:nvSpPr>
          <p:cNvPr id="78" name="Google Shape;863;p23">
            <a:extLst>
              <a:ext uri="{FF2B5EF4-FFF2-40B4-BE49-F238E27FC236}">
                <a16:creationId xmlns:a16="http://schemas.microsoft.com/office/drawing/2014/main" id="{E7DC7ACE-1AB9-4150-FBC0-8B7D32A9B13A}"/>
              </a:ext>
            </a:extLst>
          </p:cNvPr>
          <p:cNvSpPr/>
          <p:nvPr/>
        </p:nvSpPr>
        <p:spPr>
          <a:xfrm>
            <a:off x="7398411" y="1860222"/>
            <a:ext cx="1057250" cy="711521"/>
          </a:xfrm>
          <a:prstGeom prst="roundRect">
            <a:avLst>
              <a:gd name="adj" fmla="val 7428"/>
            </a:avLst>
          </a:prstGeom>
          <a:solidFill>
            <a:srgbClr val="C00000"/>
          </a:solidFill>
          <a:ln w="1905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algn="ctr" defTabSz="685818">
              <a:buClrTx/>
              <a:defRPr/>
            </a:pPr>
            <a:r>
              <a:rPr lang="en-ID" sz="680" b="1" kern="1200" dirty="0">
                <a:solidFill>
                  <a:srgbClr val="FFFFFF"/>
                </a:solidFill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FINAL PRESENTATION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8DE212C-435A-AF4B-81FD-77CE17AF7F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1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C3256C6A-483D-D21B-1FEA-ED881404374D}"/>
              </a:ext>
            </a:extLst>
          </p:cNvPr>
          <p:cNvSpPr txBox="1"/>
          <p:nvPr/>
        </p:nvSpPr>
        <p:spPr>
          <a:xfrm>
            <a:off x="361077" y="580023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defTabSz="685783">
              <a:buClr>
                <a:srgbClr val="595959"/>
              </a:buClr>
              <a:buSzPts val="3600"/>
            </a:pPr>
            <a:r>
              <a:rPr lang="en-US" sz="2000" b="1" kern="1200" dirty="0">
                <a:solidFill>
                  <a:srgbClr val="EA0000"/>
                </a:solidFill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PROGRAM JOURNEY 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E7BEA93-0BDF-892E-769F-8657281E15DF}"/>
              </a:ext>
            </a:extLst>
          </p:cNvPr>
          <p:cNvSpPr/>
          <p:nvPr/>
        </p:nvSpPr>
        <p:spPr>
          <a:xfrm>
            <a:off x="254435" y="1827236"/>
            <a:ext cx="881743" cy="872297"/>
          </a:xfrm>
          <a:prstGeom prst="ellipse">
            <a:avLst/>
          </a:prstGeom>
          <a:solidFill>
            <a:srgbClr val="0070C0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sz="700" b="1" dirty="0">
                <a:solidFill>
                  <a:srgbClr val="FFFFFF"/>
                </a:solidFill>
                <a:latin typeface="Montserrat" pitchFamily="2" charset="77"/>
              </a:rPr>
              <a:t>KICK OFF MEETING</a:t>
            </a:r>
          </a:p>
          <a:p>
            <a:pPr algn="ctr" defTabSz="914378"/>
            <a:r>
              <a:rPr lang="en-US" sz="700" b="1" dirty="0">
                <a:solidFill>
                  <a:srgbClr val="FFFFFF"/>
                </a:solidFill>
                <a:latin typeface="Montserrat" pitchFamily="2" charset="77"/>
              </a:rPr>
              <a:t>(15/09)</a:t>
            </a:r>
          </a:p>
        </p:txBody>
      </p:sp>
      <p:sp>
        <p:nvSpPr>
          <p:cNvPr id="7" name="Google Shape;863;p23">
            <a:extLst>
              <a:ext uri="{FF2B5EF4-FFF2-40B4-BE49-F238E27FC236}">
                <a16:creationId xmlns:a16="http://schemas.microsoft.com/office/drawing/2014/main" id="{44B8FCC3-FFB9-0120-2691-F837D12B935A}"/>
              </a:ext>
            </a:extLst>
          </p:cNvPr>
          <p:cNvSpPr/>
          <p:nvPr/>
        </p:nvSpPr>
        <p:spPr>
          <a:xfrm>
            <a:off x="4550870" y="2051732"/>
            <a:ext cx="553379" cy="355764"/>
          </a:xfrm>
          <a:prstGeom prst="octagon">
            <a:avLst/>
          </a:prstGeom>
          <a:solidFill>
            <a:srgbClr val="C69D39"/>
          </a:solidFill>
          <a:ln w="12700" cap="flat" cmpd="sng">
            <a:solidFill>
              <a:srgbClr val="2135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IMPLEMENTASI W2</a:t>
            </a:r>
          </a:p>
        </p:txBody>
      </p:sp>
      <p:sp>
        <p:nvSpPr>
          <p:cNvPr id="8" name="Google Shape;863;p23">
            <a:extLst>
              <a:ext uri="{FF2B5EF4-FFF2-40B4-BE49-F238E27FC236}">
                <a16:creationId xmlns:a16="http://schemas.microsoft.com/office/drawing/2014/main" id="{FFFDFD1D-85BC-7524-ABC6-631FE3EEF654}"/>
              </a:ext>
            </a:extLst>
          </p:cNvPr>
          <p:cNvSpPr/>
          <p:nvPr/>
        </p:nvSpPr>
        <p:spPr>
          <a:xfrm>
            <a:off x="6114909" y="2051732"/>
            <a:ext cx="553379" cy="355764"/>
          </a:xfrm>
          <a:prstGeom prst="octagon">
            <a:avLst/>
          </a:prstGeom>
          <a:solidFill>
            <a:srgbClr val="C69D39"/>
          </a:solidFill>
          <a:ln w="12700" cap="flat" cmpd="sng">
            <a:solidFill>
              <a:srgbClr val="2135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IMPLEMENTASI W3</a:t>
            </a:r>
          </a:p>
        </p:txBody>
      </p:sp>
      <p:sp>
        <p:nvSpPr>
          <p:cNvPr id="9" name="Google Shape;863;p23">
            <a:extLst>
              <a:ext uri="{FF2B5EF4-FFF2-40B4-BE49-F238E27FC236}">
                <a16:creationId xmlns:a16="http://schemas.microsoft.com/office/drawing/2014/main" id="{5D652E19-EDDC-E7E2-4526-1C2AC3254C52}"/>
              </a:ext>
            </a:extLst>
          </p:cNvPr>
          <p:cNvSpPr/>
          <p:nvPr/>
        </p:nvSpPr>
        <p:spPr>
          <a:xfrm>
            <a:off x="6756660" y="2051732"/>
            <a:ext cx="553379" cy="355764"/>
          </a:xfrm>
          <a:prstGeom prst="octagon">
            <a:avLst/>
          </a:prstGeom>
          <a:solidFill>
            <a:srgbClr val="C69D39"/>
          </a:solidFill>
          <a:ln w="12700" cap="flat" cmpd="sng">
            <a:solidFill>
              <a:srgbClr val="2135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IMPLEMENTASI W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1D0FF72-65E5-AE7C-A521-6504C3DA13DB}"/>
              </a:ext>
            </a:extLst>
          </p:cNvPr>
          <p:cNvSpPr txBox="1"/>
          <p:nvPr/>
        </p:nvSpPr>
        <p:spPr>
          <a:xfrm>
            <a:off x="1616178" y="2656846"/>
            <a:ext cx="189233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18">
              <a:buClrTx/>
              <a:defRPr/>
            </a:pPr>
            <a:r>
              <a:rPr lang="en-ID" sz="900" b="1" kern="1200" dirty="0"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BATCH B:  7-8 OKT 2025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A94144A1-2C22-480C-F24E-45BD5BA192F1}"/>
              </a:ext>
            </a:extLst>
          </p:cNvPr>
          <p:cNvCxnSpPr/>
          <p:nvPr/>
        </p:nvCxnSpPr>
        <p:spPr>
          <a:xfrm>
            <a:off x="1195136" y="2222351"/>
            <a:ext cx="0" cy="90812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Google Shape;863;p23">
            <a:extLst>
              <a:ext uri="{FF2B5EF4-FFF2-40B4-BE49-F238E27FC236}">
                <a16:creationId xmlns:a16="http://schemas.microsoft.com/office/drawing/2014/main" id="{EFCDE8C3-D64B-A403-1940-54ADBC03C240}"/>
              </a:ext>
            </a:extLst>
          </p:cNvPr>
          <p:cNvSpPr/>
          <p:nvPr/>
        </p:nvSpPr>
        <p:spPr>
          <a:xfrm>
            <a:off x="832382" y="2999804"/>
            <a:ext cx="716715" cy="334606"/>
          </a:xfrm>
          <a:prstGeom prst="roundRect">
            <a:avLst/>
          </a:prstGeom>
          <a:solidFill>
            <a:srgbClr val="0070C0"/>
          </a:solidFill>
          <a:ln w="12700" cap="flat" cmpd="sng">
            <a:solidFill>
              <a:srgbClr val="21356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algn="ctr" defTabSz="685818">
              <a:buClrTx/>
              <a:defRPr/>
            </a:pPr>
            <a:r>
              <a:rPr lang="en-ID" sz="600" b="1" kern="1200" dirty="0">
                <a:solidFill>
                  <a:srgbClr val="FFFFFF"/>
                </a:solidFill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WELCOMING</a:t>
            </a:r>
            <a:br>
              <a:rPr lang="en-ID" sz="600" b="1" kern="1200" dirty="0">
                <a:solidFill>
                  <a:srgbClr val="FFFFFF"/>
                </a:solidFill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</a:br>
            <a:r>
              <a:rPr lang="en-ID" sz="600" b="1" kern="1200" dirty="0">
                <a:solidFill>
                  <a:srgbClr val="FFFFFF"/>
                </a:solidFill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LETTER</a:t>
            </a:r>
          </a:p>
        </p:txBody>
      </p:sp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8B2DD803-22B9-B592-2DA8-F47DC9B83B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36A4472-BAF6-8E56-B6CE-4BBDD43F8CDE}"/>
              </a:ext>
            </a:extLst>
          </p:cNvPr>
          <p:cNvSpPr txBox="1"/>
          <p:nvPr/>
        </p:nvSpPr>
        <p:spPr>
          <a:xfrm>
            <a:off x="5069925" y="2635804"/>
            <a:ext cx="113731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18">
              <a:buClrTx/>
              <a:defRPr/>
            </a:pPr>
            <a:r>
              <a:rPr lang="en-ID" sz="900" b="1" kern="1200" dirty="0"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W5 OKT 20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B71A13-24DD-A3FA-E1A9-DA02CCA2FB9B}"/>
              </a:ext>
            </a:extLst>
          </p:cNvPr>
          <p:cNvSpPr txBox="1"/>
          <p:nvPr/>
        </p:nvSpPr>
        <p:spPr>
          <a:xfrm>
            <a:off x="7438443" y="2638902"/>
            <a:ext cx="105725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18">
              <a:buClrTx/>
              <a:defRPr/>
            </a:pPr>
            <a:r>
              <a:rPr lang="en-ID" sz="900" b="1" kern="1200" dirty="0"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W2 NOV 202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8EE219-F6DD-79B3-821D-8B123F9AB139}"/>
              </a:ext>
            </a:extLst>
          </p:cNvPr>
          <p:cNvSpPr txBox="1"/>
          <p:nvPr/>
        </p:nvSpPr>
        <p:spPr>
          <a:xfrm>
            <a:off x="3549165" y="2656846"/>
            <a:ext cx="113731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18">
              <a:buClrTx/>
              <a:defRPr/>
            </a:pPr>
            <a:r>
              <a:rPr lang="en-ID" sz="900" b="1" kern="1200" dirty="0">
                <a:solidFill>
                  <a:srgbClr val="C28009"/>
                </a:solidFill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13-17 OK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EEA423-11E3-D6E7-F19C-35CE4369A741}"/>
              </a:ext>
            </a:extLst>
          </p:cNvPr>
          <p:cNvSpPr txBox="1"/>
          <p:nvPr/>
        </p:nvSpPr>
        <p:spPr>
          <a:xfrm>
            <a:off x="4285787" y="3137028"/>
            <a:ext cx="113731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18">
              <a:buClrTx/>
              <a:defRPr/>
            </a:pPr>
            <a:r>
              <a:rPr lang="en-ID" sz="900" b="1" kern="1200" dirty="0">
                <a:solidFill>
                  <a:srgbClr val="C28009"/>
                </a:solidFill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20-24 OK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B66B9A-86B5-9CF3-044D-CBEE2D78D4B7}"/>
              </a:ext>
            </a:extLst>
          </p:cNvPr>
          <p:cNvSpPr txBox="1"/>
          <p:nvPr/>
        </p:nvSpPr>
        <p:spPr>
          <a:xfrm>
            <a:off x="5848417" y="3137028"/>
            <a:ext cx="113731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18">
              <a:buClrTx/>
              <a:defRPr/>
            </a:pPr>
            <a:r>
              <a:rPr lang="en-ID" sz="900" b="1" kern="1200" dirty="0">
                <a:solidFill>
                  <a:srgbClr val="C28009"/>
                </a:solidFill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27-31 OK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0A8ABFD-E31A-C2F6-892C-D3F3DB4438D6}"/>
              </a:ext>
            </a:extLst>
          </p:cNvPr>
          <p:cNvSpPr txBox="1"/>
          <p:nvPr/>
        </p:nvSpPr>
        <p:spPr>
          <a:xfrm>
            <a:off x="6464691" y="2606857"/>
            <a:ext cx="113731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18">
              <a:buClrTx/>
              <a:defRPr/>
            </a:pPr>
            <a:r>
              <a:rPr lang="en-ID" sz="900" b="1" kern="1200" dirty="0">
                <a:solidFill>
                  <a:srgbClr val="C28009"/>
                </a:solidFill>
                <a:latin typeface="Gotham Medium" pitchFamily="2" charset="0"/>
                <a:ea typeface="Helvetica Neue"/>
                <a:cs typeface="Gotham Medium" pitchFamily="2" charset="0"/>
                <a:sym typeface="Helvetica Neue"/>
              </a:rPr>
              <a:t>3-7 NOV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8928A52-6A3E-F6E8-83C8-15390C020A88}"/>
              </a:ext>
            </a:extLst>
          </p:cNvPr>
          <p:cNvCxnSpPr>
            <a:cxnSpLocks/>
          </p:cNvCxnSpPr>
          <p:nvPr/>
        </p:nvCxnSpPr>
        <p:spPr>
          <a:xfrm>
            <a:off x="4184374" y="2407496"/>
            <a:ext cx="0" cy="2920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26AF8F8-EC8E-C8B0-7A6E-860D04E42E07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4854444" y="2407496"/>
            <a:ext cx="1" cy="7295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7CAFE0E-B036-0DDD-D4C7-7D556000757D}"/>
              </a:ext>
            </a:extLst>
          </p:cNvPr>
          <p:cNvCxnSpPr>
            <a:cxnSpLocks/>
          </p:cNvCxnSpPr>
          <p:nvPr/>
        </p:nvCxnSpPr>
        <p:spPr>
          <a:xfrm>
            <a:off x="6398331" y="2412533"/>
            <a:ext cx="1" cy="7295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5869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D3AD0DC8-3981-DD49-1675-FFE44C9566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BDF16F5D-5392-A6BA-F882-D10EBE7332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1287FEC5-0532-C9BF-E0ED-36D16ECD8C47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VALUE DRIVEN LEADERSHIP IMPLEMENTATION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4D928B1-4101-55EF-5ECF-BC6BDA95A3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804512"/>
              </p:ext>
            </p:extLst>
          </p:nvPr>
        </p:nvGraphicFramePr>
        <p:xfrm>
          <a:off x="361076" y="1201918"/>
          <a:ext cx="8440024" cy="3246138"/>
        </p:xfrm>
        <a:graphic>
          <a:graphicData uri="http://schemas.openxmlformats.org/drawingml/2006/table">
            <a:tbl>
              <a:tblPr firstRow="1" bandRow="1"/>
              <a:tblGrid>
                <a:gridCol w="4220012">
                  <a:extLst>
                    <a:ext uri="{9D8B030D-6E8A-4147-A177-3AD203B41FA5}">
                      <a16:colId xmlns:a16="http://schemas.microsoft.com/office/drawing/2014/main" val="2350897903"/>
                    </a:ext>
                  </a:extLst>
                </a:gridCol>
                <a:gridCol w="4220012">
                  <a:extLst>
                    <a:ext uri="{9D8B030D-6E8A-4147-A177-3AD203B41FA5}">
                      <a16:colId xmlns:a16="http://schemas.microsoft.com/office/drawing/2014/main" val="3115912054"/>
                    </a:ext>
                  </a:extLst>
                </a:gridCol>
              </a:tblGrid>
              <a:tr h="398264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MINGGU 1</a:t>
                      </a:r>
                    </a:p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(13-17 Oktober 2025)</a:t>
                      </a:r>
                    </a:p>
                  </a:txBody>
                  <a:tcPr anchor="ctr">
                    <a:solidFill>
                      <a:srgbClr val="EA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MINGGU 2</a:t>
                      </a:r>
                    </a:p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(20-24 Oktober 2025)</a:t>
                      </a:r>
                      <a:endParaRPr lang="en-US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80305"/>
                  </a:ext>
                </a:extLst>
              </a:tr>
              <a:tr h="2781318">
                <a:tc>
                  <a:txBody>
                    <a:bodyPr/>
                    <a:lstStyle/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S DISCUSSION: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haring pa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en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CAH. </a:t>
                      </a:r>
                      <a:r>
                        <a:rPr lang="en-US" sz="800" b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laskan</a:t>
                      </a:r>
                      <a:r>
                        <a:rPr lang="en-US" sz="8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maksud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 Ap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d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ey words dan do’s and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’t’s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u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ndu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laku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ap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aiman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t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nteks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nit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nal dan external customers.</a:t>
                      </a:r>
                    </a:p>
                    <a:p>
                      <a:pPr marL="342900" marR="0" lvl="1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t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(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Langkah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aktif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”LINCAH”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wab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nta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kerja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jal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cap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il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S DISCUSSION: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haring pa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en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MAH. </a:t>
                      </a:r>
                      <a:r>
                        <a:rPr lang="en-US" sz="800" b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laskan</a:t>
                      </a:r>
                      <a:r>
                        <a:rPr lang="en-US" sz="8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maksud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 Ap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d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ey words dan do’s and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’t’s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u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ndu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laku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ap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aiman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t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nteks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nit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nal dan external customers.</a:t>
                      </a: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t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(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Langkah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aktif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”RAMAH”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wab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nta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kerja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jal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cap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il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Keywords mana yang pali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manfaa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?</a:t>
                      </a:r>
                    </a:p>
                    <a:p>
                      <a:pPr marL="171450" marR="0" lvl="0" indent="-1714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inja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mbal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meta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ggot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dasar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rek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hadap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ubah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butuh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n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ah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identifika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las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belumny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lih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(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orang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ur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pali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dorong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er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gera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uj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ubah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bih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i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171450" marR="0" lvl="0" indent="-1714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 err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438490"/>
                  </a:ext>
                </a:extLst>
              </a:tr>
            </a:tbl>
          </a:graphicData>
        </a:graphic>
      </p:graphicFrame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608DC60D-9166-D785-05F4-011733D4DD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32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088E8C5B-CECF-0DD6-B414-CB3A80A8B9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A86D9C43-CA06-05CB-CA6C-F9469E05BE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0365E1D5-4B42-A141-BD32-5C8380A5124C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VALUE DRIVEN LEADERSHIP IMPLEMENTATION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42F63C1-7325-CB42-4B1D-BBF930687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2890999"/>
              </p:ext>
            </p:extLst>
          </p:nvPr>
        </p:nvGraphicFramePr>
        <p:xfrm>
          <a:off x="361076" y="1201918"/>
          <a:ext cx="8440024" cy="3604260"/>
        </p:xfrm>
        <a:graphic>
          <a:graphicData uri="http://schemas.openxmlformats.org/drawingml/2006/table">
            <a:tbl>
              <a:tblPr firstRow="1" bandRow="1"/>
              <a:tblGrid>
                <a:gridCol w="4220012">
                  <a:extLst>
                    <a:ext uri="{9D8B030D-6E8A-4147-A177-3AD203B41FA5}">
                      <a16:colId xmlns:a16="http://schemas.microsoft.com/office/drawing/2014/main" val="2350897903"/>
                    </a:ext>
                  </a:extLst>
                </a:gridCol>
                <a:gridCol w="4220012">
                  <a:extLst>
                    <a:ext uri="{9D8B030D-6E8A-4147-A177-3AD203B41FA5}">
                      <a16:colId xmlns:a16="http://schemas.microsoft.com/office/drawing/2014/main" val="3115912054"/>
                    </a:ext>
                  </a:extLst>
                </a:gridCol>
              </a:tblGrid>
              <a:tr h="398264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MINGGU 3</a:t>
                      </a:r>
                    </a:p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(27 – 31 Oktober 2025)</a:t>
                      </a:r>
                    </a:p>
                  </a:txBody>
                  <a:tcPr anchor="ctr">
                    <a:solidFill>
                      <a:srgbClr val="C2800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MINGGU 4</a:t>
                      </a:r>
                    </a:p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(3 -7 November 2025)</a:t>
                      </a:r>
                      <a:endParaRPr lang="en-US" dirty="0">
                        <a:solidFill>
                          <a:schemeClr val="bg1"/>
                        </a:solidFill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rgbClr val="A26B0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80305"/>
                  </a:ext>
                </a:extLst>
              </a:tr>
              <a:tr h="2781318">
                <a:tc>
                  <a:txBody>
                    <a:bodyPr/>
                    <a:lstStyle/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S DISCUSSION: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haring pa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en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PERCAYA. </a:t>
                      </a:r>
                      <a:r>
                        <a:rPr lang="en-US" sz="800" b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laskan</a:t>
                      </a:r>
                      <a:r>
                        <a:rPr lang="en-US" sz="8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maksud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 Ap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d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ey words dan do’s and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’t’s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u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ndu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laku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ap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aiman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t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nteks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nit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nal dan external customers.</a:t>
                      </a:r>
                    </a:p>
                    <a:p>
                      <a:pPr marL="342900" marR="0" lvl="1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t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(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Langkah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aktif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”TERPERCAYA”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wab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nta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kerja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jal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cap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il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Keywords mana yang pali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manfaa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?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ri list Anda,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lih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mbal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(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orang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ur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pali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dorong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er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gera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uj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ubah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bih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i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dwal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on 1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ny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ktik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ku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ubah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S DISCUSSION: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haring pa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en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JUR. </a:t>
                      </a:r>
                      <a:r>
                        <a:rPr lang="en-US" sz="800" b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laskan</a:t>
                      </a:r>
                      <a:r>
                        <a:rPr lang="en-US" sz="8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maksud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 Ap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d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ey words dan do’s and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’t’s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u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ndu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laku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ap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aiman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t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nteks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nit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nal dan external customers.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jut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hari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diskusi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berap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i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iku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li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eri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mp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li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kai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erap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-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RTJ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lam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ar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vid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n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.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at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pat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r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ggot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 Anda.</a:t>
                      </a: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a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mitme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sam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t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sam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bag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angkah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bai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sam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hususny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utup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ses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j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25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bih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i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ika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ap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lang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dapat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faa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internal/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ksternal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erap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lak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r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5143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aiman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l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pa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ant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rek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t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(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Langkah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aktif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erapk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”JUJUR”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wab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ntang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kerja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di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jalan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capa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il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Keywords mana yang paling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manfaat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?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 yang Anda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lajar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aya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s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438490"/>
                  </a:ext>
                </a:extLst>
              </a:tr>
            </a:tbl>
          </a:graphicData>
        </a:graphic>
      </p:graphicFrame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8B8FC3F7-8C22-FBDC-83B9-8E4C703124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7945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>
          <a:extLst>
            <a:ext uri="{FF2B5EF4-FFF2-40B4-BE49-F238E27FC236}">
              <a16:creationId xmlns:a16="http://schemas.microsoft.com/office/drawing/2014/main" id="{5C00FB24-BD1B-C381-31E7-B2C5191E00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652C089B-E20B-1FD1-2EC8-2BBDF8244C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0" y="335122"/>
            <a:ext cx="879337" cy="289028"/>
          </a:xfrm>
          <a:prstGeom prst="rect">
            <a:avLst/>
          </a:prstGeom>
        </p:spPr>
      </p:pic>
      <p:sp>
        <p:nvSpPr>
          <p:cNvPr id="27" name="Google Shape;205;p8">
            <a:extLst>
              <a:ext uri="{FF2B5EF4-FFF2-40B4-BE49-F238E27FC236}">
                <a16:creationId xmlns:a16="http://schemas.microsoft.com/office/drawing/2014/main" id="{7B1CD7DD-1D20-F9F0-55D6-16E7AA7D6478}"/>
              </a:ext>
            </a:extLst>
          </p:cNvPr>
          <p:cNvSpPr txBox="1"/>
          <p:nvPr/>
        </p:nvSpPr>
        <p:spPr>
          <a:xfrm>
            <a:off x="361076" y="580022"/>
            <a:ext cx="7849420" cy="37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A0000"/>
                </a:solidFill>
                <a:effectLst/>
                <a:uLnTx/>
                <a:uFillTx/>
                <a:latin typeface="Montserrat" pitchFamily="2" charset="77"/>
                <a:ea typeface="Bebas Neue"/>
                <a:cs typeface="Gotham Black" pitchFamily="50" charset="0"/>
                <a:sym typeface="Bebas Neue"/>
              </a:rPr>
              <a:t>MINGGU 1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FC7F20F-CBDE-42EA-53A9-24825A5743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6259503"/>
              </p:ext>
            </p:extLst>
          </p:nvPr>
        </p:nvGraphicFramePr>
        <p:xfrm>
          <a:off x="3600450" y="1125524"/>
          <a:ext cx="4887199" cy="3246138"/>
        </p:xfrm>
        <a:graphic>
          <a:graphicData uri="http://schemas.openxmlformats.org/drawingml/2006/table">
            <a:tbl>
              <a:tblPr firstRow="1" bandRow="1"/>
              <a:tblGrid>
                <a:gridCol w="4887199">
                  <a:extLst>
                    <a:ext uri="{9D8B030D-6E8A-4147-A177-3AD203B41FA5}">
                      <a16:colId xmlns:a16="http://schemas.microsoft.com/office/drawing/2014/main" val="2350897903"/>
                    </a:ext>
                  </a:extLst>
                </a:gridCol>
              </a:tblGrid>
              <a:tr h="398264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MINGGU 1</a:t>
                      </a:r>
                    </a:p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Montserrat" pitchFamily="2" charset="77"/>
                        </a:rPr>
                        <a:t>(13-17 Oktober 2025)</a:t>
                      </a:r>
                    </a:p>
                  </a:txBody>
                  <a:tcPr anchor="ctr">
                    <a:solidFill>
                      <a:srgbClr val="EA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80305"/>
                  </a:ext>
                </a:extLst>
              </a:tr>
              <a:tr h="2781318">
                <a:tc>
                  <a:txBody>
                    <a:bodyPr/>
                    <a:lstStyle/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S DISCUSSION: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haring pa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en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CAH. </a:t>
                      </a:r>
                      <a:r>
                        <a:rPr lang="en-US" sz="1000" b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laskan</a:t>
                      </a:r>
                      <a:r>
                        <a:rPr lang="en-US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maksud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 Ap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j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d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ey words dan do’s and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’t’s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u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ndu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laku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gap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ting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  <a:p>
                      <a:pPr marL="628650" marR="0" lvl="1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aiman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terap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nteks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nit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ja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as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10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nal dan external customers.</a:t>
                      </a:r>
                    </a:p>
                    <a:p>
                      <a:pPr marL="342900" marR="0" lvl="1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tu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(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Langkah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aktif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a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u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erapk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”LINCAH”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sebu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jawab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ntang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kerja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 di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ggu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jalan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uk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capa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il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Keywords mana yang paling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manfaa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i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a?</a:t>
                      </a:r>
                    </a:p>
                    <a:p>
                      <a:pPr marL="285750" marR="0" lvl="0" indent="-28575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438490"/>
                  </a:ext>
                </a:extLst>
              </a:tr>
            </a:tbl>
          </a:graphicData>
        </a:graphic>
      </p:graphicFrame>
      <p:pic>
        <p:nvPicPr>
          <p:cNvPr id="2" name="Picture 1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B7B60EC6-5FD4-6761-A3D7-182AF572E3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4453" y="335122"/>
            <a:ext cx="970969" cy="24451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DDEC0D3-67CF-1722-2F2F-F3F1359B327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75914"/>
          <a:stretch>
            <a:fillRect/>
          </a:stretch>
        </p:blipFill>
        <p:spPr>
          <a:xfrm>
            <a:off x="713064" y="1169017"/>
            <a:ext cx="2229724" cy="3093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506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S Report">
  <a:themeElements>
    <a:clrScheme name="Custom 1">
      <a:dk1>
        <a:srgbClr val="000000"/>
      </a:dk1>
      <a:lt1>
        <a:srgbClr val="FFFFFF"/>
      </a:lt1>
      <a:dk2>
        <a:srgbClr val="821A1A"/>
      </a:dk2>
      <a:lt2>
        <a:srgbClr val="FFFFFF"/>
      </a:lt2>
      <a:accent1>
        <a:srgbClr val="821A1A"/>
      </a:accent1>
      <a:accent2>
        <a:srgbClr val="D62E1C"/>
      </a:accent2>
      <a:accent3>
        <a:srgbClr val="FFCF48"/>
      </a:accent3>
      <a:accent4>
        <a:srgbClr val="E36A00"/>
      </a:accent4>
      <a:accent5>
        <a:srgbClr val="ABA591"/>
      </a:accent5>
      <a:accent6>
        <a:srgbClr val="877E62"/>
      </a:accent6>
      <a:hlink>
        <a:srgbClr val="821A1A"/>
      </a:hlink>
      <a:folHlink>
        <a:srgbClr val="821A1A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S ID Report-Rev 1.potx" id="{1A079498-6911-4658-A92C-2850BAE143B2}" vid="{4E1BEBF4-88FE-4970-B59E-9DEC3BA9B6AB}"/>
    </a:ext>
  </a:extLst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Dividend">
  <a:themeElements>
    <a:clrScheme name="Custom 25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243746"/>
      </a:accent1>
      <a:accent2>
        <a:srgbClr val="7B66EB"/>
      </a:accent2>
      <a:accent3>
        <a:srgbClr val="B2324B"/>
      </a:accent3>
      <a:accent4>
        <a:srgbClr val="FC9F51"/>
      </a:accent4>
      <a:accent5>
        <a:srgbClr val="66B1CE"/>
      </a:accent5>
      <a:accent6>
        <a:srgbClr val="40619D"/>
      </a:accent6>
      <a:hlink>
        <a:srgbClr val="828282"/>
      </a:hlink>
      <a:folHlink>
        <a:srgbClr val="A5A5A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C21699FF-00E4-43C8-BBCC-D7E5536C3717}"/>
    </a:ext>
  </a:extLst>
</a:theme>
</file>

<file path=ppt/theme/theme6.xml><?xml version="1.0" encoding="utf-8"?>
<a:theme xmlns:a="http://schemas.openxmlformats.org/drawingml/2006/main" name="1_Dividend">
  <a:themeElements>
    <a:clrScheme name="Custom 25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243746"/>
      </a:accent1>
      <a:accent2>
        <a:srgbClr val="7B66EB"/>
      </a:accent2>
      <a:accent3>
        <a:srgbClr val="B2324B"/>
      </a:accent3>
      <a:accent4>
        <a:srgbClr val="FC9F51"/>
      </a:accent4>
      <a:accent5>
        <a:srgbClr val="66B1CE"/>
      </a:accent5>
      <a:accent6>
        <a:srgbClr val="40619D"/>
      </a:accent6>
      <a:hlink>
        <a:srgbClr val="828282"/>
      </a:hlink>
      <a:folHlink>
        <a:srgbClr val="A5A5A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C21699FF-00E4-43C8-BBCC-D7E5536C3717}"/>
    </a:ext>
  </a:extLst>
</a:theme>
</file>

<file path=ppt/theme/theme7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079</TotalTime>
  <Words>1747</Words>
  <Application>Microsoft Office PowerPoint</Application>
  <PresentationFormat>On-screen Show (16:9)</PresentationFormat>
  <Paragraphs>261</Paragraphs>
  <Slides>24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2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56" baseType="lpstr">
      <vt:lpstr>Aptos Display</vt:lpstr>
      <vt:lpstr>Aptos</vt:lpstr>
      <vt:lpstr>Wingdings 2</vt:lpstr>
      <vt:lpstr>Gotham-MediumItalic</vt:lpstr>
      <vt:lpstr>Anton</vt:lpstr>
      <vt:lpstr>Helvetica</vt:lpstr>
      <vt:lpstr>Univers 45 Light</vt:lpstr>
      <vt:lpstr>Poppins</vt:lpstr>
      <vt:lpstr>Calibri</vt:lpstr>
      <vt:lpstr>Arial</vt:lpstr>
      <vt:lpstr>GOTHAM-BOOK</vt:lpstr>
      <vt:lpstr>맑은 고딕</vt:lpstr>
      <vt:lpstr>Times New Roman</vt:lpstr>
      <vt:lpstr>Gill Sans</vt:lpstr>
      <vt:lpstr>HelveticaNeueLT Std</vt:lpstr>
      <vt:lpstr>HelveticaNeueLT Std Lt</vt:lpstr>
      <vt:lpstr>Wingdings</vt:lpstr>
      <vt:lpstr>Helvetica Light</vt:lpstr>
      <vt:lpstr>Gotham Medium</vt:lpstr>
      <vt:lpstr>Tiempos Fine Light</vt:lpstr>
      <vt:lpstr>Montserrat</vt:lpstr>
      <vt:lpstr>HelveticaNeueLT Std Thin</vt:lpstr>
      <vt:lpstr>Helvetica Neue</vt:lpstr>
      <vt:lpstr>Georgia</vt:lpstr>
      <vt:lpstr>Simple Light</vt:lpstr>
      <vt:lpstr>Custom Design</vt:lpstr>
      <vt:lpstr>TS Report</vt:lpstr>
      <vt:lpstr>1_Custom Design</vt:lpstr>
      <vt:lpstr>Dividend</vt:lpstr>
      <vt:lpstr>1_Dividend</vt:lpstr>
      <vt:lpstr>1_Simple Light</vt:lpstr>
      <vt:lpstr>think-cell Slide</vt:lpstr>
      <vt:lpstr>CO-MISSIONING PROGRAM: FROM VALUES TO CORPORATE CUL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Salsabila Adila Husna</cp:lastModifiedBy>
  <cp:revision>83</cp:revision>
  <dcterms:modified xsi:type="dcterms:W3CDTF">2025-10-13T10:54:33Z</dcterms:modified>
</cp:coreProperties>
</file>